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2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3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4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41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4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93" r:id="rId9"/>
    <p:sldId id="2029" r:id="rId10"/>
    <p:sldId id="1945" r:id="rId11"/>
    <p:sldId id="1962" r:id="rId12"/>
    <p:sldId id="1994" r:id="rId13"/>
    <p:sldId id="1996" r:id="rId14"/>
    <p:sldId id="2030" r:id="rId15"/>
    <p:sldId id="1998" r:id="rId16"/>
    <p:sldId id="2032" r:id="rId17"/>
    <p:sldId id="2033" r:id="rId18"/>
    <p:sldId id="2034" r:id="rId19"/>
    <p:sldId id="2035" r:id="rId20"/>
    <p:sldId id="2036" r:id="rId21"/>
    <p:sldId id="2037" r:id="rId22"/>
    <p:sldId id="2038" r:id="rId23"/>
    <p:sldId id="2039" r:id="rId24"/>
    <p:sldId id="2040" r:id="rId25"/>
    <p:sldId id="2041" r:id="rId26"/>
    <p:sldId id="2042" r:id="rId27"/>
    <p:sldId id="2043" r:id="rId28"/>
    <p:sldId id="2044" r:id="rId29"/>
    <p:sldId id="2045" r:id="rId30"/>
    <p:sldId id="1942" r:id="rId31"/>
    <p:sldId id="1474" r:id="rId32"/>
    <p:sldId id="1481" r:id="rId33"/>
    <p:sldId id="1482" r:id="rId34"/>
    <p:sldId id="1475" r:id="rId35"/>
    <p:sldId id="1483" r:id="rId36"/>
    <p:sldId id="1923" r:id="rId37"/>
    <p:sldId id="1476" r:id="rId38"/>
    <p:sldId id="1523" r:id="rId39"/>
    <p:sldId id="1524" r:id="rId40"/>
    <p:sldId id="1595" r:id="rId41"/>
    <p:sldId id="1639" r:id="rId42"/>
    <p:sldId id="1802" r:id="rId43"/>
    <p:sldId id="1829" r:id="rId44"/>
    <p:sldId id="1823" r:id="rId45"/>
    <p:sldId id="1845" r:id="rId46"/>
    <p:sldId id="1864" r:id="rId47"/>
    <p:sldId id="1866" r:id="rId48"/>
    <p:sldId id="1886" r:id="rId49"/>
    <p:sldId id="1528" r:id="rId50"/>
    <p:sldId id="1530" r:id="rId51"/>
    <p:sldId id="1571" r:id="rId52"/>
    <p:sldId id="1572" r:id="rId53"/>
    <p:sldId id="1596" r:id="rId54"/>
    <p:sldId id="1615" r:id="rId55"/>
    <p:sldId id="1617" r:id="rId56"/>
    <p:sldId id="1641" r:id="rId57"/>
    <p:sldId id="1784" r:id="rId58"/>
    <p:sldId id="1804" r:id="rId59"/>
    <p:sldId id="1888" r:id="rId60"/>
    <p:sldId id="1907" r:id="rId61"/>
    <p:sldId id="1592" r:id="rId62"/>
    <p:sldId id="1593" r:id="rId63"/>
  </p:sldIdLst>
  <p:sldSz cx="12192000" cy="6858000"/>
  <p:notesSz cx="6858000" cy="9144000"/>
  <p:custDataLst>
    <p:tags r:id="rId6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00FF"/>
    <a:srgbClr val="FCE34E"/>
    <a:srgbClr val="FFFF00"/>
    <a:srgbClr val="E4F828"/>
    <a:srgbClr val="000000"/>
    <a:srgbClr val="00FF00"/>
    <a:srgbClr val="FF9966"/>
    <a:srgbClr val="FF9933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61" autoAdjust="0"/>
    <p:restoredTop sz="96400" autoAdjust="0"/>
  </p:normalViewPr>
  <p:slideViewPr>
    <p:cSldViewPr snapToGrid="0">
      <p:cViewPr>
        <p:scale>
          <a:sx n="100" d="100"/>
          <a:sy n="100" d="100"/>
        </p:scale>
        <p:origin x="1158" y="34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commentAuthors" Target="commentAuthor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notesMaster" Target="notesMasters/notesMaster1.xml"/><Relationship Id="rId69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R$1</c:f>
              <c:strCache>
                <c:ptCount val="95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  <c:pt idx="85">
                  <c:v>13.12.–19.12.</c:v>
                </c:pt>
                <c:pt idx="86">
                  <c:v>20.12.–26.12.</c:v>
                </c:pt>
                <c:pt idx="87">
                  <c:v>27.12.–2.1.</c:v>
                </c:pt>
                <c:pt idx="88">
                  <c:v>3.1.–9.1.</c:v>
                </c:pt>
                <c:pt idx="89">
                  <c:v>10.1.–16.1.</c:v>
                </c:pt>
                <c:pt idx="90">
                  <c:v>17.1.–23.1.</c:v>
                </c:pt>
                <c:pt idx="91">
                  <c:v>24.1.–30.1.</c:v>
                </c:pt>
                <c:pt idx="92">
                  <c:v>31.1.–6.2.</c:v>
                </c:pt>
                <c:pt idx="93">
                  <c:v>7.2.–13.2.</c:v>
                </c:pt>
                <c:pt idx="94">
                  <c:v>14.2.–20.2.</c:v>
                </c:pt>
              </c:strCache>
            </c:strRef>
          </c:cat>
          <c:val>
            <c:numRef>
              <c:f>List1!$B$2:$CR$2</c:f>
              <c:numCache>
                <c:formatCode>General</c:formatCode>
                <c:ptCount val="9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5</c:v>
                </c:pt>
                <c:pt idx="79">
                  <c:v>313</c:v>
                </c:pt>
                <c:pt idx="80">
                  <c:v>90</c:v>
                </c:pt>
                <c:pt idx="81">
                  <c:v>107</c:v>
                </c:pt>
                <c:pt idx="82">
                  <c:v>119</c:v>
                </c:pt>
                <c:pt idx="83">
                  <c:v>105</c:v>
                </c:pt>
                <c:pt idx="84">
                  <c:v>173</c:v>
                </c:pt>
                <c:pt idx="85">
                  <c:v>106</c:v>
                </c:pt>
                <c:pt idx="86">
                  <c:v>70</c:v>
                </c:pt>
                <c:pt idx="87">
                  <c:v>154</c:v>
                </c:pt>
                <c:pt idx="88">
                  <c:v>46</c:v>
                </c:pt>
                <c:pt idx="89">
                  <c:v>28</c:v>
                </c:pt>
                <c:pt idx="90">
                  <c:v>248</c:v>
                </c:pt>
                <c:pt idx="91">
                  <c:v>258</c:v>
                </c:pt>
                <c:pt idx="92">
                  <c:v>434</c:v>
                </c:pt>
                <c:pt idx="93">
                  <c:v>612</c:v>
                </c:pt>
                <c:pt idx="94">
                  <c:v>2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67300337927102305</c:v>
                </c:pt>
                <c:pt idx="1">
                  <c:v>0.326996620728976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9.9717101834593827E-2"/>
                  <c:y val="-0.156140803526777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510648422761702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894669692341171"/>
                      <c:h val="9.535458664435128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99908706515471846</c:v>
                </c:pt>
                <c:pt idx="1">
                  <c:v>9.1293484528156828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554012816600545</c:v>
                </c:pt>
                <c:pt idx="1">
                  <c:v>0.134459871833994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11796735173054548"/>
                  <c:y val="-0.1503617376695439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430786666796995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4.5361967148006825E-2"/>
                  <c:y val="8.462190575390189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775961527084196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92464063961895038</c:v>
                </c:pt>
                <c:pt idx="1">
                  <c:v>7.535936038104958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37</c:f>
              <c:numCache>
                <c:formatCode>m/d/yyyy</c:formatCode>
                <c:ptCount val="5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</c:numCache>
            </c:numRef>
          </c:cat>
          <c:val>
            <c:numRef>
              <c:f>List1!$B$2:$B$537</c:f>
              <c:numCache>
                <c:formatCode>General</c:formatCode>
                <c:ptCount val="536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4</c:v>
                </c:pt>
                <c:pt idx="15">
                  <c:v>14</c:v>
                </c:pt>
                <c:pt idx="16">
                  <c:v>14</c:v>
                </c:pt>
                <c:pt idx="17">
                  <c:v>16</c:v>
                </c:pt>
                <c:pt idx="18">
                  <c:v>17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6</c:v>
                </c:pt>
                <c:pt idx="24">
                  <c:v>27</c:v>
                </c:pt>
                <c:pt idx="25">
                  <c:v>32</c:v>
                </c:pt>
                <c:pt idx="26">
                  <c:v>37</c:v>
                </c:pt>
                <c:pt idx="27">
                  <c:v>40</c:v>
                </c:pt>
                <c:pt idx="28">
                  <c:v>45</c:v>
                </c:pt>
                <c:pt idx="29">
                  <c:v>73</c:v>
                </c:pt>
                <c:pt idx="30">
                  <c:v>104</c:v>
                </c:pt>
                <c:pt idx="31">
                  <c:v>166</c:v>
                </c:pt>
                <c:pt idx="32">
                  <c:v>202</c:v>
                </c:pt>
                <c:pt idx="33">
                  <c:v>256</c:v>
                </c:pt>
                <c:pt idx="34">
                  <c:v>423</c:v>
                </c:pt>
                <c:pt idx="35">
                  <c:v>505</c:v>
                </c:pt>
                <c:pt idx="36">
                  <c:v>550</c:v>
                </c:pt>
                <c:pt idx="37">
                  <c:v>629</c:v>
                </c:pt>
                <c:pt idx="38">
                  <c:v>768</c:v>
                </c:pt>
                <c:pt idx="39">
                  <c:v>798</c:v>
                </c:pt>
                <c:pt idx="40">
                  <c:v>811</c:v>
                </c:pt>
                <c:pt idx="41">
                  <c:v>949</c:v>
                </c:pt>
                <c:pt idx="42">
                  <c:v>1174</c:v>
                </c:pt>
                <c:pt idx="43">
                  <c:v>1355</c:v>
                </c:pt>
                <c:pt idx="44">
                  <c:v>1555</c:v>
                </c:pt>
                <c:pt idx="45">
                  <c:v>1760</c:v>
                </c:pt>
                <c:pt idx="46">
                  <c:v>1916</c:v>
                </c:pt>
                <c:pt idx="47">
                  <c:v>1957</c:v>
                </c:pt>
                <c:pt idx="48">
                  <c:v>2200</c:v>
                </c:pt>
                <c:pt idx="49">
                  <c:v>2400</c:v>
                </c:pt>
                <c:pt idx="50">
                  <c:v>2727</c:v>
                </c:pt>
                <c:pt idx="51">
                  <c:v>2961</c:v>
                </c:pt>
                <c:pt idx="52">
                  <c:v>3385</c:v>
                </c:pt>
                <c:pt idx="53">
                  <c:v>3613</c:v>
                </c:pt>
                <c:pt idx="54">
                  <c:v>3811</c:v>
                </c:pt>
                <c:pt idx="55">
                  <c:v>4200</c:v>
                </c:pt>
                <c:pt idx="56">
                  <c:v>4736</c:v>
                </c:pt>
                <c:pt idx="57">
                  <c:v>4999</c:v>
                </c:pt>
                <c:pt idx="58">
                  <c:v>5544</c:v>
                </c:pt>
                <c:pt idx="59">
                  <c:v>6134</c:v>
                </c:pt>
                <c:pt idx="60">
                  <c:v>6472</c:v>
                </c:pt>
                <c:pt idx="61">
                  <c:v>6686</c:v>
                </c:pt>
                <c:pt idx="62">
                  <c:v>7023</c:v>
                </c:pt>
                <c:pt idx="63">
                  <c:v>7371</c:v>
                </c:pt>
                <c:pt idx="64">
                  <c:v>7795</c:v>
                </c:pt>
                <c:pt idx="65">
                  <c:v>8335</c:v>
                </c:pt>
                <c:pt idx="66">
                  <c:v>8826</c:v>
                </c:pt>
                <c:pt idx="67">
                  <c:v>9041</c:v>
                </c:pt>
                <c:pt idx="68">
                  <c:v>9120</c:v>
                </c:pt>
                <c:pt idx="69">
                  <c:v>9326</c:v>
                </c:pt>
                <c:pt idx="70">
                  <c:v>9711</c:v>
                </c:pt>
                <c:pt idx="71">
                  <c:v>10390</c:v>
                </c:pt>
                <c:pt idx="72">
                  <c:v>10892</c:v>
                </c:pt>
                <c:pt idx="73">
                  <c:v>11377</c:v>
                </c:pt>
                <c:pt idx="74">
                  <c:v>11558</c:v>
                </c:pt>
                <c:pt idx="75">
                  <c:v>11727</c:v>
                </c:pt>
                <c:pt idx="76">
                  <c:v>12115</c:v>
                </c:pt>
                <c:pt idx="77">
                  <c:v>12254</c:v>
                </c:pt>
                <c:pt idx="78">
                  <c:v>12523</c:v>
                </c:pt>
                <c:pt idx="79">
                  <c:v>12795</c:v>
                </c:pt>
                <c:pt idx="80">
                  <c:v>13037</c:v>
                </c:pt>
                <c:pt idx="81">
                  <c:v>13132</c:v>
                </c:pt>
                <c:pt idx="82">
                  <c:v>13224</c:v>
                </c:pt>
                <c:pt idx="83">
                  <c:v>13609</c:v>
                </c:pt>
                <c:pt idx="84">
                  <c:v>13810</c:v>
                </c:pt>
                <c:pt idx="85">
                  <c:v>13940</c:v>
                </c:pt>
                <c:pt idx="86">
                  <c:v>14139</c:v>
                </c:pt>
                <c:pt idx="87">
                  <c:v>14278</c:v>
                </c:pt>
                <c:pt idx="88">
                  <c:v>14356</c:v>
                </c:pt>
                <c:pt idx="89">
                  <c:v>14386</c:v>
                </c:pt>
                <c:pt idx="90">
                  <c:v>14599</c:v>
                </c:pt>
                <c:pt idx="91">
                  <c:v>14723</c:v>
                </c:pt>
                <c:pt idx="92">
                  <c:v>14857</c:v>
                </c:pt>
                <c:pt idx="93">
                  <c:v>14987</c:v>
                </c:pt>
                <c:pt idx="94">
                  <c:v>15135</c:v>
                </c:pt>
                <c:pt idx="95">
                  <c:v>15224</c:v>
                </c:pt>
                <c:pt idx="96">
                  <c:v>15246</c:v>
                </c:pt>
                <c:pt idx="97">
                  <c:v>15389</c:v>
                </c:pt>
                <c:pt idx="98">
                  <c:v>15480</c:v>
                </c:pt>
                <c:pt idx="99">
                  <c:v>15621</c:v>
                </c:pt>
                <c:pt idx="100">
                  <c:v>15705</c:v>
                </c:pt>
                <c:pt idx="101">
                  <c:v>15938</c:v>
                </c:pt>
                <c:pt idx="102">
                  <c:v>16006</c:v>
                </c:pt>
                <c:pt idx="103">
                  <c:v>16056</c:v>
                </c:pt>
                <c:pt idx="104">
                  <c:v>16206</c:v>
                </c:pt>
                <c:pt idx="105">
                  <c:v>16340</c:v>
                </c:pt>
                <c:pt idx="106">
                  <c:v>16440</c:v>
                </c:pt>
                <c:pt idx="107">
                  <c:v>16508</c:v>
                </c:pt>
                <c:pt idx="108">
                  <c:v>16731</c:v>
                </c:pt>
                <c:pt idx="109">
                  <c:v>16792</c:v>
                </c:pt>
                <c:pt idx="110">
                  <c:v>16814</c:v>
                </c:pt>
                <c:pt idx="111">
                  <c:v>16994</c:v>
                </c:pt>
                <c:pt idx="112">
                  <c:v>17171</c:v>
                </c:pt>
                <c:pt idx="113">
                  <c:v>17293</c:v>
                </c:pt>
                <c:pt idx="114">
                  <c:v>17311</c:v>
                </c:pt>
                <c:pt idx="115">
                  <c:v>17383</c:v>
                </c:pt>
                <c:pt idx="116">
                  <c:v>17462</c:v>
                </c:pt>
                <c:pt idx="117">
                  <c:v>17560</c:v>
                </c:pt>
                <c:pt idx="118">
                  <c:v>17726</c:v>
                </c:pt>
                <c:pt idx="119">
                  <c:v>17912</c:v>
                </c:pt>
                <c:pt idx="120">
                  <c:v>18058</c:v>
                </c:pt>
                <c:pt idx="121">
                  <c:v>18194</c:v>
                </c:pt>
                <c:pt idx="122">
                  <c:v>18261</c:v>
                </c:pt>
                <c:pt idx="123">
                  <c:v>18322</c:v>
                </c:pt>
                <c:pt idx="124">
                  <c:v>18364</c:v>
                </c:pt>
                <c:pt idx="125">
                  <c:v>18634</c:v>
                </c:pt>
                <c:pt idx="126">
                  <c:v>18789</c:v>
                </c:pt>
                <c:pt idx="127">
                  <c:v>18952</c:v>
                </c:pt>
                <c:pt idx="128">
                  <c:v>19186</c:v>
                </c:pt>
                <c:pt idx="129">
                  <c:v>19374</c:v>
                </c:pt>
                <c:pt idx="130">
                  <c:v>19439</c:v>
                </c:pt>
                <c:pt idx="131">
                  <c:v>19472</c:v>
                </c:pt>
                <c:pt idx="132">
                  <c:v>19715</c:v>
                </c:pt>
                <c:pt idx="133">
                  <c:v>19842</c:v>
                </c:pt>
                <c:pt idx="134">
                  <c:v>20017</c:v>
                </c:pt>
                <c:pt idx="135">
                  <c:v>20114</c:v>
                </c:pt>
                <c:pt idx="136">
                  <c:v>20201</c:v>
                </c:pt>
                <c:pt idx="137">
                  <c:v>20236</c:v>
                </c:pt>
                <c:pt idx="138">
                  <c:v>20282</c:v>
                </c:pt>
                <c:pt idx="139">
                  <c:v>20447</c:v>
                </c:pt>
                <c:pt idx="140">
                  <c:v>20529</c:v>
                </c:pt>
                <c:pt idx="141">
                  <c:v>20676</c:v>
                </c:pt>
                <c:pt idx="142">
                  <c:v>20784</c:v>
                </c:pt>
                <c:pt idx="143">
                  <c:v>20902</c:v>
                </c:pt>
                <c:pt idx="144">
                  <c:v>20955</c:v>
                </c:pt>
                <c:pt idx="145">
                  <c:v>20981</c:v>
                </c:pt>
                <c:pt idx="146">
                  <c:v>21067</c:v>
                </c:pt>
                <c:pt idx="147">
                  <c:v>21110</c:v>
                </c:pt>
                <c:pt idx="148">
                  <c:v>21206</c:v>
                </c:pt>
                <c:pt idx="149">
                  <c:v>21273</c:v>
                </c:pt>
                <c:pt idx="150">
                  <c:v>21310</c:v>
                </c:pt>
                <c:pt idx="151">
                  <c:v>21359</c:v>
                </c:pt>
                <c:pt idx="152">
                  <c:v>21369</c:v>
                </c:pt>
                <c:pt idx="153">
                  <c:v>21477</c:v>
                </c:pt>
                <c:pt idx="154">
                  <c:v>21574</c:v>
                </c:pt>
                <c:pt idx="155">
                  <c:v>21677</c:v>
                </c:pt>
                <c:pt idx="156">
                  <c:v>21761</c:v>
                </c:pt>
                <c:pt idx="157">
                  <c:v>21846</c:v>
                </c:pt>
                <c:pt idx="158">
                  <c:v>21890</c:v>
                </c:pt>
                <c:pt idx="159">
                  <c:v>21906</c:v>
                </c:pt>
                <c:pt idx="160">
                  <c:v>21972</c:v>
                </c:pt>
                <c:pt idx="161">
                  <c:v>22038</c:v>
                </c:pt>
                <c:pt idx="162">
                  <c:v>22105</c:v>
                </c:pt>
                <c:pt idx="163">
                  <c:v>22174</c:v>
                </c:pt>
                <c:pt idx="164">
                  <c:v>22226</c:v>
                </c:pt>
                <c:pt idx="165">
                  <c:v>22234</c:v>
                </c:pt>
                <c:pt idx="166">
                  <c:v>22248</c:v>
                </c:pt>
                <c:pt idx="167">
                  <c:v>22285</c:v>
                </c:pt>
                <c:pt idx="168">
                  <c:v>22304</c:v>
                </c:pt>
                <c:pt idx="169">
                  <c:v>22334</c:v>
                </c:pt>
                <c:pt idx="170">
                  <c:v>22364</c:v>
                </c:pt>
                <c:pt idx="171">
                  <c:v>22392</c:v>
                </c:pt>
                <c:pt idx="172">
                  <c:v>22410</c:v>
                </c:pt>
                <c:pt idx="173">
                  <c:v>22417</c:v>
                </c:pt>
                <c:pt idx="174">
                  <c:v>22509</c:v>
                </c:pt>
                <c:pt idx="175">
                  <c:v>22545</c:v>
                </c:pt>
                <c:pt idx="176">
                  <c:v>22579</c:v>
                </c:pt>
                <c:pt idx="177">
                  <c:v>22625</c:v>
                </c:pt>
                <c:pt idx="178">
                  <c:v>22673</c:v>
                </c:pt>
                <c:pt idx="179">
                  <c:v>22683</c:v>
                </c:pt>
                <c:pt idx="180">
                  <c:v>22686</c:v>
                </c:pt>
                <c:pt idx="181">
                  <c:v>22764</c:v>
                </c:pt>
                <c:pt idx="182">
                  <c:v>22792</c:v>
                </c:pt>
                <c:pt idx="183">
                  <c:v>22838</c:v>
                </c:pt>
                <c:pt idx="184">
                  <c:v>22849</c:v>
                </c:pt>
                <c:pt idx="185">
                  <c:v>22873</c:v>
                </c:pt>
                <c:pt idx="186">
                  <c:v>22878</c:v>
                </c:pt>
                <c:pt idx="187">
                  <c:v>22884</c:v>
                </c:pt>
                <c:pt idx="188">
                  <c:v>22911</c:v>
                </c:pt>
                <c:pt idx="189">
                  <c:v>23013</c:v>
                </c:pt>
                <c:pt idx="190">
                  <c:v>23072</c:v>
                </c:pt>
                <c:pt idx="191">
                  <c:v>23085</c:v>
                </c:pt>
                <c:pt idx="192">
                  <c:v>23119</c:v>
                </c:pt>
                <c:pt idx="193">
                  <c:v>23128</c:v>
                </c:pt>
                <c:pt idx="194">
                  <c:v>23135</c:v>
                </c:pt>
                <c:pt idx="195">
                  <c:v>23164</c:v>
                </c:pt>
                <c:pt idx="196">
                  <c:v>23185</c:v>
                </c:pt>
                <c:pt idx="197">
                  <c:v>23197</c:v>
                </c:pt>
                <c:pt idx="198">
                  <c:v>23234</c:v>
                </c:pt>
                <c:pt idx="199">
                  <c:v>23252</c:v>
                </c:pt>
                <c:pt idx="200">
                  <c:v>23261</c:v>
                </c:pt>
                <c:pt idx="201">
                  <c:v>23265</c:v>
                </c:pt>
                <c:pt idx="202">
                  <c:v>23279</c:v>
                </c:pt>
                <c:pt idx="203">
                  <c:v>23309</c:v>
                </c:pt>
                <c:pt idx="204">
                  <c:v>23329</c:v>
                </c:pt>
                <c:pt idx="205">
                  <c:v>23360</c:v>
                </c:pt>
                <c:pt idx="206">
                  <c:v>23366</c:v>
                </c:pt>
                <c:pt idx="207">
                  <c:v>23369</c:v>
                </c:pt>
                <c:pt idx="208">
                  <c:v>23373</c:v>
                </c:pt>
                <c:pt idx="209">
                  <c:v>23396</c:v>
                </c:pt>
                <c:pt idx="210">
                  <c:v>23409</c:v>
                </c:pt>
                <c:pt idx="211">
                  <c:v>23420</c:v>
                </c:pt>
                <c:pt idx="212">
                  <c:v>23431</c:v>
                </c:pt>
                <c:pt idx="213">
                  <c:v>23435</c:v>
                </c:pt>
                <c:pt idx="214">
                  <c:v>23439</c:v>
                </c:pt>
                <c:pt idx="215">
                  <c:v>23441</c:v>
                </c:pt>
                <c:pt idx="216">
                  <c:v>23442</c:v>
                </c:pt>
                <c:pt idx="217">
                  <c:v>23447</c:v>
                </c:pt>
                <c:pt idx="218">
                  <c:v>23466</c:v>
                </c:pt>
                <c:pt idx="219">
                  <c:v>23468</c:v>
                </c:pt>
                <c:pt idx="220">
                  <c:v>23471</c:v>
                </c:pt>
                <c:pt idx="221">
                  <c:v>23472</c:v>
                </c:pt>
                <c:pt idx="222">
                  <c:v>23472</c:v>
                </c:pt>
                <c:pt idx="223">
                  <c:v>23473</c:v>
                </c:pt>
                <c:pt idx="224">
                  <c:v>23475</c:v>
                </c:pt>
                <c:pt idx="225">
                  <c:v>23477</c:v>
                </c:pt>
                <c:pt idx="226">
                  <c:v>23481</c:v>
                </c:pt>
                <c:pt idx="227">
                  <c:v>23482</c:v>
                </c:pt>
                <c:pt idx="228">
                  <c:v>23483</c:v>
                </c:pt>
                <c:pt idx="229">
                  <c:v>23485</c:v>
                </c:pt>
                <c:pt idx="230">
                  <c:v>23490</c:v>
                </c:pt>
                <c:pt idx="231">
                  <c:v>23495</c:v>
                </c:pt>
                <c:pt idx="232">
                  <c:v>23498</c:v>
                </c:pt>
                <c:pt idx="233">
                  <c:v>23509</c:v>
                </c:pt>
                <c:pt idx="234">
                  <c:v>23516</c:v>
                </c:pt>
                <c:pt idx="235">
                  <c:v>23517</c:v>
                </c:pt>
                <c:pt idx="236">
                  <c:v>23517</c:v>
                </c:pt>
                <c:pt idx="237">
                  <c:v>23519</c:v>
                </c:pt>
                <c:pt idx="238">
                  <c:v>23523</c:v>
                </c:pt>
                <c:pt idx="239">
                  <c:v>23524</c:v>
                </c:pt>
                <c:pt idx="240">
                  <c:v>23526</c:v>
                </c:pt>
                <c:pt idx="241">
                  <c:v>23527</c:v>
                </c:pt>
                <c:pt idx="242">
                  <c:v>23527</c:v>
                </c:pt>
                <c:pt idx="243">
                  <c:v>23527</c:v>
                </c:pt>
                <c:pt idx="244">
                  <c:v>23529</c:v>
                </c:pt>
                <c:pt idx="245">
                  <c:v>23529</c:v>
                </c:pt>
                <c:pt idx="246">
                  <c:v>23532</c:v>
                </c:pt>
                <c:pt idx="247">
                  <c:v>23532</c:v>
                </c:pt>
                <c:pt idx="248">
                  <c:v>23533</c:v>
                </c:pt>
                <c:pt idx="249">
                  <c:v>23533</c:v>
                </c:pt>
                <c:pt idx="250">
                  <c:v>23536</c:v>
                </c:pt>
                <c:pt idx="251">
                  <c:v>23541</c:v>
                </c:pt>
                <c:pt idx="252">
                  <c:v>23543</c:v>
                </c:pt>
                <c:pt idx="253">
                  <c:v>23543</c:v>
                </c:pt>
                <c:pt idx="254">
                  <c:v>23546</c:v>
                </c:pt>
                <c:pt idx="255">
                  <c:v>23551</c:v>
                </c:pt>
                <c:pt idx="256">
                  <c:v>23552</c:v>
                </c:pt>
                <c:pt idx="257">
                  <c:v>23552</c:v>
                </c:pt>
                <c:pt idx="258">
                  <c:v>23555</c:v>
                </c:pt>
                <c:pt idx="259">
                  <c:v>23555</c:v>
                </c:pt>
                <c:pt idx="260">
                  <c:v>23557</c:v>
                </c:pt>
                <c:pt idx="261">
                  <c:v>23557</c:v>
                </c:pt>
                <c:pt idx="262">
                  <c:v>23557</c:v>
                </c:pt>
                <c:pt idx="263">
                  <c:v>23557</c:v>
                </c:pt>
                <c:pt idx="264">
                  <c:v>23557</c:v>
                </c:pt>
                <c:pt idx="265">
                  <c:v>23559</c:v>
                </c:pt>
                <c:pt idx="266">
                  <c:v>23559</c:v>
                </c:pt>
                <c:pt idx="267">
                  <c:v>23559</c:v>
                </c:pt>
                <c:pt idx="268">
                  <c:v>23559</c:v>
                </c:pt>
                <c:pt idx="269">
                  <c:v>23559</c:v>
                </c:pt>
                <c:pt idx="270">
                  <c:v>23559</c:v>
                </c:pt>
                <c:pt idx="271">
                  <c:v>23559</c:v>
                </c:pt>
                <c:pt idx="272">
                  <c:v>23560</c:v>
                </c:pt>
                <c:pt idx="273">
                  <c:v>23560</c:v>
                </c:pt>
                <c:pt idx="274">
                  <c:v>23563</c:v>
                </c:pt>
                <c:pt idx="275">
                  <c:v>23564</c:v>
                </c:pt>
                <c:pt idx="276">
                  <c:v>23564</c:v>
                </c:pt>
                <c:pt idx="277">
                  <c:v>23564</c:v>
                </c:pt>
                <c:pt idx="278">
                  <c:v>23564</c:v>
                </c:pt>
                <c:pt idx="279">
                  <c:v>23565</c:v>
                </c:pt>
                <c:pt idx="280">
                  <c:v>23565</c:v>
                </c:pt>
                <c:pt idx="281">
                  <c:v>23565</c:v>
                </c:pt>
                <c:pt idx="282">
                  <c:v>23565</c:v>
                </c:pt>
                <c:pt idx="283">
                  <c:v>23566</c:v>
                </c:pt>
                <c:pt idx="284">
                  <c:v>23566</c:v>
                </c:pt>
                <c:pt idx="285">
                  <c:v>23566</c:v>
                </c:pt>
                <c:pt idx="286">
                  <c:v>23566</c:v>
                </c:pt>
                <c:pt idx="287">
                  <c:v>23566</c:v>
                </c:pt>
                <c:pt idx="288">
                  <c:v>23566</c:v>
                </c:pt>
                <c:pt idx="289">
                  <c:v>23567</c:v>
                </c:pt>
                <c:pt idx="290">
                  <c:v>23567</c:v>
                </c:pt>
                <c:pt idx="291">
                  <c:v>23567</c:v>
                </c:pt>
                <c:pt idx="292">
                  <c:v>23567</c:v>
                </c:pt>
                <c:pt idx="293">
                  <c:v>23567</c:v>
                </c:pt>
                <c:pt idx="294">
                  <c:v>23567</c:v>
                </c:pt>
                <c:pt idx="295">
                  <c:v>23568</c:v>
                </c:pt>
                <c:pt idx="296">
                  <c:v>23569</c:v>
                </c:pt>
                <c:pt idx="297">
                  <c:v>23569</c:v>
                </c:pt>
                <c:pt idx="298">
                  <c:v>23569</c:v>
                </c:pt>
                <c:pt idx="299">
                  <c:v>23569</c:v>
                </c:pt>
                <c:pt idx="300">
                  <c:v>23569</c:v>
                </c:pt>
                <c:pt idx="301">
                  <c:v>23569</c:v>
                </c:pt>
                <c:pt idx="302">
                  <c:v>23569</c:v>
                </c:pt>
                <c:pt idx="303">
                  <c:v>23570</c:v>
                </c:pt>
                <c:pt idx="304">
                  <c:v>23570</c:v>
                </c:pt>
                <c:pt idx="305">
                  <c:v>23570</c:v>
                </c:pt>
                <c:pt idx="306">
                  <c:v>23571</c:v>
                </c:pt>
                <c:pt idx="307">
                  <c:v>23571</c:v>
                </c:pt>
                <c:pt idx="308">
                  <c:v>23571</c:v>
                </c:pt>
                <c:pt idx="309">
                  <c:v>23571</c:v>
                </c:pt>
                <c:pt idx="310">
                  <c:v>23572</c:v>
                </c:pt>
                <c:pt idx="311">
                  <c:v>23572</c:v>
                </c:pt>
                <c:pt idx="312">
                  <c:v>23572</c:v>
                </c:pt>
                <c:pt idx="313">
                  <c:v>23572</c:v>
                </c:pt>
                <c:pt idx="314">
                  <c:v>23572</c:v>
                </c:pt>
                <c:pt idx="315">
                  <c:v>23572</c:v>
                </c:pt>
                <c:pt idx="316">
                  <c:v>23572</c:v>
                </c:pt>
                <c:pt idx="317">
                  <c:v>23572</c:v>
                </c:pt>
                <c:pt idx="318">
                  <c:v>23572</c:v>
                </c:pt>
                <c:pt idx="319">
                  <c:v>23572</c:v>
                </c:pt>
                <c:pt idx="320">
                  <c:v>23572</c:v>
                </c:pt>
                <c:pt idx="321">
                  <c:v>23572</c:v>
                </c:pt>
                <c:pt idx="322">
                  <c:v>23572</c:v>
                </c:pt>
                <c:pt idx="323">
                  <c:v>23572</c:v>
                </c:pt>
                <c:pt idx="324">
                  <c:v>23572</c:v>
                </c:pt>
                <c:pt idx="325">
                  <c:v>23572</c:v>
                </c:pt>
                <c:pt idx="326">
                  <c:v>23573</c:v>
                </c:pt>
                <c:pt idx="327">
                  <c:v>23573</c:v>
                </c:pt>
                <c:pt idx="328">
                  <c:v>23573</c:v>
                </c:pt>
                <c:pt idx="329">
                  <c:v>23573</c:v>
                </c:pt>
                <c:pt idx="330">
                  <c:v>23573</c:v>
                </c:pt>
                <c:pt idx="331">
                  <c:v>23573</c:v>
                </c:pt>
                <c:pt idx="332">
                  <c:v>23573</c:v>
                </c:pt>
                <c:pt idx="333">
                  <c:v>23573</c:v>
                </c:pt>
                <c:pt idx="334">
                  <c:v>23573</c:v>
                </c:pt>
                <c:pt idx="335">
                  <c:v>23573</c:v>
                </c:pt>
                <c:pt idx="336">
                  <c:v>23573</c:v>
                </c:pt>
                <c:pt idx="337">
                  <c:v>23573</c:v>
                </c:pt>
                <c:pt idx="338">
                  <c:v>23573</c:v>
                </c:pt>
                <c:pt idx="339">
                  <c:v>23573</c:v>
                </c:pt>
                <c:pt idx="340">
                  <c:v>23573</c:v>
                </c:pt>
                <c:pt idx="341">
                  <c:v>23573</c:v>
                </c:pt>
                <c:pt idx="342">
                  <c:v>23573</c:v>
                </c:pt>
                <c:pt idx="343">
                  <c:v>23573</c:v>
                </c:pt>
                <c:pt idx="344">
                  <c:v>23573</c:v>
                </c:pt>
                <c:pt idx="345">
                  <c:v>23573</c:v>
                </c:pt>
                <c:pt idx="346">
                  <c:v>23573</c:v>
                </c:pt>
                <c:pt idx="347">
                  <c:v>23573</c:v>
                </c:pt>
                <c:pt idx="348">
                  <c:v>23573</c:v>
                </c:pt>
                <c:pt idx="349">
                  <c:v>23574</c:v>
                </c:pt>
                <c:pt idx="350">
                  <c:v>23575</c:v>
                </c:pt>
                <c:pt idx="351">
                  <c:v>23575</c:v>
                </c:pt>
                <c:pt idx="352">
                  <c:v>23576</c:v>
                </c:pt>
                <c:pt idx="353">
                  <c:v>23576</c:v>
                </c:pt>
                <c:pt idx="354">
                  <c:v>23576</c:v>
                </c:pt>
                <c:pt idx="355">
                  <c:v>23576</c:v>
                </c:pt>
                <c:pt idx="356">
                  <c:v>23578</c:v>
                </c:pt>
                <c:pt idx="357">
                  <c:v>23578</c:v>
                </c:pt>
                <c:pt idx="358">
                  <c:v>23578</c:v>
                </c:pt>
                <c:pt idx="359">
                  <c:v>23578</c:v>
                </c:pt>
                <c:pt idx="360">
                  <c:v>23578</c:v>
                </c:pt>
                <c:pt idx="361">
                  <c:v>23578</c:v>
                </c:pt>
                <c:pt idx="362">
                  <c:v>23578</c:v>
                </c:pt>
                <c:pt idx="363">
                  <c:v>23578</c:v>
                </c:pt>
                <c:pt idx="364">
                  <c:v>23578</c:v>
                </c:pt>
                <c:pt idx="365">
                  <c:v>23579</c:v>
                </c:pt>
                <c:pt idx="366">
                  <c:v>23583</c:v>
                </c:pt>
                <c:pt idx="367">
                  <c:v>23585</c:v>
                </c:pt>
                <c:pt idx="368">
                  <c:v>23586</c:v>
                </c:pt>
                <c:pt idx="369">
                  <c:v>23586</c:v>
                </c:pt>
                <c:pt idx="370">
                  <c:v>23590</c:v>
                </c:pt>
                <c:pt idx="371">
                  <c:v>23590</c:v>
                </c:pt>
                <c:pt idx="372">
                  <c:v>23590</c:v>
                </c:pt>
                <c:pt idx="373">
                  <c:v>23591</c:v>
                </c:pt>
                <c:pt idx="374">
                  <c:v>23591</c:v>
                </c:pt>
                <c:pt idx="375">
                  <c:v>23591</c:v>
                </c:pt>
                <c:pt idx="376">
                  <c:v>23591</c:v>
                </c:pt>
                <c:pt idx="377">
                  <c:v>23592</c:v>
                </c:pt>
                <c:pt idx="378">
                  <c:v>23592</c:v>
                </c:pt>
                <c:pt idx="379">
                  <c:v>23592</c:v>
                </c:pt>
                <c:pt idx="380">
                  <c:v>23592</c:v>
                </c:pt>
                <c:pt idx="381">
                  <c:v>23592</c:v>
                </c:pt>
                <c:pt idx="382">
                  <c:v>23592</c:v>
                </c:pt>
                <c:pt idx="383">
                  <c:v>23592</c:v>
                </c:pt>
                <c:pt idx="384">
                  <c:v>23593</c:v>
                </c:pt>
                <c:pt idx="385">
                  <c:v>23597</c:v>
                </c:pt>
                <c:pt idx="386">
                  <c:v>23598</c:v>
                </c:pt>
                <c:pt idx="387">
                  <c:v>23598</c:v>
                </c:pt>
                <c:pt idx="388">
                  <c:v>23598</c:v>
                </c:pt>
                <c:pt idx="389">
                  <c:v>23598</c:v>
                </c:pt>
                <c:pt idx="390">
                  <c:v>23598</c:v>
                </c:pt>
                <c:pt idx="391">
                  <c:v>23600</c:v>
                </c:pt>
                <c:pt idx="392">
                  <c:v>23600</c:v>
                </c:pt>
                <c:pt idx="393">
                  <c:v>23601</c:v>
                </c:pt>
                <c:pt idx="394">
                  <c:v>23601</c:v>
                </c:pt>
                <c:pt idx="395">
                  <c:v>23602</c:v>
                </c:pt>
                <c:pt idx="396">
                  <c:v>23603</c:v>
                </c:pt>
                <c:pt idx="397">
                  <c:v>23604</c:v>
                </c:pt>
                <c:pt idx="398">
                  <c:v>23606</c:v>
                </c:pt>
                <c:pt idx="399">
                  <c:v>23608</c:v>
                </c:pt>
                <c:pt idx="400">
                  <c:v>23619</c:v>
                </c:pt>
                <c:pt idx="401">
                  <c:v>23621</c:v>
                </c:pt>
                <c:pt idx="402">
                  <c:v>23646</c:v>
                </c:pt>
                <c:pt idx="403">
                  <c:v>23647</c:v>
                </c:pt>
                <c:pt idx="404">
                  <c:v>23647</c:v>
                </c:pt>
                <c:pt idx="405">
                  <c:v>23648</c:v>
                </c:pt>
                <c:pt idx="406">
                  <c:v>23649</c:v>
                </c:pt>
                <c:pt idx="407">
                  <c:v>23669</c:v>
                </c:pt>
                <c:pt idx="408">
                  <c:v>23672</c:v>
                </c:pt>
                <c:pt idx="409">
                  <c:v>23674</c:v>
                </c:pt>
                <c:pt idx="410">
                  <c:v>23674</c:v>
                </c:pt>
                <c:pt idx="411">
                  <c:v>23674</c:v>
                </c:pt>
                <c:pt idx="412">
                  <c:v>23680</c:v>
                </c:pt>
                <c:pt idx="413">
                  <c:v>23685</c:v>
                </c:pt>
                <c:pt idx="414">
                  <c:v>23689</c:v>
                </c:pt>
                <c:pt idx="415">
                  <c:v>23691</c:v>
                </c:pt>
                <c:pt idx="416">
                  <c:v>23696</c:v>
                </c:pt>
                <c:pt idx="417">
                  <c:v>23697</c:v>
                </c:pt>
                <c:pt idx="418">
                  <c:v>23698</c:v>
                </c:pt>
                <c:pt idx="419">
                  <c:v>23712</c:v>
                </c:pt>
                <c:pt idx="420">
                  <c:v>23721</c:v>
                </c:pt>
                <c:pt idx="421">
                  <c:v>23732</c:v>
                </c:pt>
                <c:pt idx="422">
                  <c:v>23732</c:v>
                </c:pt>
                <c:pt idx="423">
                  <c:v>23750</c:v>
                </c:pt>
                <c:pt idx="424">
                  <c:v>23757</c:v>
                </c:pt>
                <c:pt idx="425">
                  <c:v>23768</c:v>
                </c:pt>
                <c:pt idx="426">
                  <c:v>23803</c:v>
                </c:pt>
                <c:pt idx="427">
                  <c:v>23818</c:v>
                </c:pt>
                <c:pt idx="428">
                  <c:v>23834</c:v>
                </c:pt>
                <c:pt idx="429">
                  <c:v>23887</c:v>
                </c:pt>
                <c:pt idx="430">
                  <c:v>23910</c:v>
                </c:pt>
                <c:pt idx="431">
                  <c:v>23916</c:v>
                </c:pt>
                <c:pt idx="432">
                  <c:v>23921</c:v>
                </c:pt>
                <c:pt idx="433">
                  <c:v>23951</c:v>
                </c:pt>
                <c:pt idx="434">
                  <c:v>23980</c:v>
                </c:pt>
                <c:pt idx="435">
                  <c:v>23996</c:v>
                </c:pt>
                <c:pt idx="436">
                  <c:v>24014</c:v>
                </c:pt>
                <c:pt idx="437">
                  <c:v>24031</c:v>
                </c:pt>
                <c:pt idx="438">
                  <c:v>24044</c:v>
                </c:pt>
                <c:pt idx="439">
                  <c:v>24058</c:v>
                </c:pt>
                <c:pt idx="440">
                  <c:v>24101</c:v>
                </c:pt>
                <c:pt idx="441">
                  <c:v>24133</c:v>
                </c:pt>
                <c:pt idx="442">
                  <c:v>24158</c:v>
                </c:pt>
                <c:pt idx="443">
                  <c:v>24214</c:v>
                </c:pt>
                <c:pt idx="444">
                  <c:v>24299</c:v>
                </c:pt>
                <c:pt idx="445">
                  <c:v>24325</c:v>
                </c:pt>
                <c:pt idx="446">
                  <c:v>24334</c:v>
                </c:pt>
                <c:pt idx="447">
                  <c:v>24384</c:v>
                </c:pt>
                <c:pt idx="448">
                  <c:v>24407</c:v>
                </c:pt>
                <c:pt idx="449">
                  <c:v>24449</c:v>
                </c:pt>
                <c:pt idx="450">
                  <c:v>24478</c:v>
                </c:pt>
                <c:pt idx="451">
                  <c:v>24531</c:v>
                </c:pt>
                <c:pt idx="452">
                  <c:v>24536</c:v>
                </c:pt>
                <c:pt idx="453">
                  <c:v>24543</c:v>
                </c:pt>
                <c:pt idx="454">
                  <c:v>24587</c:v>
                </c:pt>
                <c:pt idx="455">
                  <c:v>24601</c:v>
                </c:pt>
                <c:pt idx="456">
                  <c:v>24631</c:v>
                </c:pt>
                <c:pt idx="457">
                  <c:v>24662</c:v>
                </c:pt>
                <c:pt idx="458">
                  <c:v>24675</c:v>
                </c:pt>
                <c:pt idx="459">
                  <c:v>24713</c:v>
                </c:pt>
                <c:pt idx="460">
                  <c:v>24720</c:v>
                </c:pt>
                <c:pt idx="461">
                  <c:v>24750</c:v>
                </c:pt>
                <c:pt idx="462">
                  <c:v>24772</c:v>
                </c:pt>
                <c:pt idx="463">
                  <c:v>24790</c:v>
                </c:pt>
                <c:pt idx="464">
                  <c:v>24821</c:v>
                </c:pt>
                <c:pt idx="465">
                  <c:v>24851</c:v>
                </c:pt>
                <c:pt idx="466">
                  <c:v>24857</c:v>
                </c:pt>
                <c:pt idx="467">
                  <c:v>24857</c:v>
                </c:pt>
                <c:pt idx="468">
                  <c:v>24873</c:v>
                </c:pt>
                <c:pt idx="469">
                  <c:v>24900</c:v>
                </c:pt>
                <c:pt idx="470">
                  <c:v>24916</c:v>
                </c:pt>
                <c:pt idx="471">
                  <c:v>24923</c:v>
                </c:pt>
                <c:pt idx="472">
                  <c:v>24935</c:v>
                </c:pt>
                <c:pt idx="473">
                  <c:v>24937</c:v>
                </c:pt>
                <c:pt idx="474">
                  <c:v>24940</c:v>
                </c:pt>
                <c:pt idx="475">
                  <c:v>24956</c:v>
                </c:pt>
                <c:pt idx="476">
                  <c:v>24964</c:v>
                </c:pt>
                <c:pt idx="477">
                  <c:v>24967</c:v>
                </c:pt>
                <c:pt idx="478">
                  <c:v>24972</c:v>
                </c:pt>
                <c:pt idx="479">
                  <c:v>24972</c:v>
                </c:pt>
                <c:pt idx="480">
                  <c:v>24977</c:v>
                </c:pt>
                <c:pt idx="481">
                  <c:v>24977</c:v>
                </c:pt>
                <c:pt idx="482">
                  <c:v>24987</c:v>
                </c:pt>
                <c:pt idx="483">
                  <c:v>24993</c:v>
                </c:pt>
                <c:pt idx="484">
                  <c:v>24999</c:v>
                </c:pt>
                <c:pt idx="485">
                  <c:v>25001</c:v>
                </c:pt>
                <c:pt idx="486">
                  <c:v>25011</c:v>
                </c:pt>
                <c:pt idx="487">
                  <c:v>25013</c:v>
                </c:pt>
                <c:pt idx="488">
                  <c:v>25013</c:v>
                </c:pt>
                <c:pt idx="489">
                  <c:v>25017</c:v>
                </c:pt>
                <c:pt idx="490">
                  <c:v>25022</c:v>
                </c:pt>
                <c:pt idx="491">
                  <c:v>25029</c:v>
                </c:pt>
                <c:pt idx="492">
                  <c:v>25036</c:v>
                </c:pt>
                <c:pt idx="493">
                  <c:v>25042</c:v>
                </c:pt>
                <c:pt idx="494">
                  <c:v>25043</c:v>
                </c:pt>
                <c:pt idx="495">
                  <c:v>25045</c:v>
                </c:pt>
                <c:pt idx="496">
                  <c:v>25046</c:v>
                </c:pt>
                <c:pt idx="497">
                  <c:v>25054</c:v>
                </c:pt>
                <c:pt idx="498">
                  <c:v>25058</c:v>
                </c:pt>
                <c:pt idx="499">
                  <c:v>25061</c:v>
                </c:pt>
                <c:pt idx="500">
                  <c:v>25069</c:v>
                </c:pt>
                <c:pt idx="501">
                  <c:v>25070</c:v>
                </c:pt>
                <c:pt idx="502">
                  <c:v>25074</c:v>
                </c:pt>
                <c:pt idx="503">
                  <c:v>25094</c:v>
                </c:pt>
                <c:pt idx="504">
                  <c:v>25106</c:v>
                </c:pt>
                <c:pt idx="505">
                  <c:v>25117</c:v>
                </c:pt>
                <c:pt idx="506">
                  <c:v>25138</c:v>
                </c:pt>
                <c:pt idx="507">
                  <c:v>25153</c:v>
                </c:pt>
                <c:pt idx="508">
                  <c:v>25185</c:v>
                </c:pt>
                <c:pt idx="509">
                  <c:v>25191</c:v>
                </c:pt>
                <c:pt idx="510">
                  <c:v>25235</c:v>
                </c:pt>
                <c:pt idx="511">
                  <c:v>25277</c:v>
                </c:pt>
                <c:pt idx="512">
                  <c:v>25315</c:v>
                </c:pt>
                <c:pt idx="513">
                  <c:v>25339</c:v>
                </c:pt>
                <c:pt idx="514">
                  <c:v>25387</c:v>
                </c:pt>
                <c:pt idx="515">
                  <c:v>25391</c:v>
                </c:pt>
                <c:pt idx="516">
                  <c:v>25397</c:v>
                </c:pt>
                <c:pt idx="517">
                  <c:v>25440</c:v>
                </c:pt>
                <c:pt idx="518">
                  <c:v>25489</c:v>
                </c:pt>
                <c:pt idx="519">
                  <c:v>25520</c:v>
                </c:pt>
                <c:pt idx="520">
                  <c:v>25541</c:v>
                </c:pt>
                <c:pt idx="521">
                  <c:v>25599</c:v>
                </c:pt>
                <c:pt idx="522">
                  <c:v>25619</c:v>
                </c:pt>
                <c:pt idx="523">
                  <c:v>25631</c:v>
                </c:pt>
                <c:pt idx="524">
                  <c:v>25716</c:v>
                </c:pt>
                <c:pt idx="525">
                  <c:v>25762</c:v>
                </c:pt>
                <c:pt idx="526">
                  <c:v>25788</c:v>
                </c:pt>
                <c:pt idx="527">
                  <c:v>25834</c:v>
                </c:pt>
                <c:pt idx="528">
                  <c:v>25909</c:v>
                </c:pt>
                <c:pt idx="529">
                  <c:v>25928</c:v>
                </c:pt>
                <c:pt idx="530">
                  <c:v>25933</c:v>
                </c:pt>
                <c:pt idx="531">
                  <c:v>25986</c:v>
                </c:pt>
                <c:pt idx="532">
                  <c:v>26039</c:v>
                </c:pt>
                <c:pt idx="533">
                  <c:v>26097</c:v>
                </c:pt>
                <c:pt idx="534">
                  <c:v>26200</c:v>
                </c:pt>
                <c:pt idx="535">
                  <c:v>26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37</c:f>
              <c:numCache>
                <c:formatCode>m/d/yyyy</c:formatCode>
                <c:ptCount val="5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</c:numCache>
            </c:numRef>
          </c:cat>
          <c:val>
            <c:numRef>
              <c:f>List1!$C$2:$C$537</c:f>
              <c:numCache>
                <c:formatCode>General</c:formatCode>
                <c:ptCount val="53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1</c:v>
                </c:pt>
                <c:pt idx="13">
                  <c:v>14</c:v>
                </c:pt>
                <c:pt idx="14">
                  <c:v>15</c:v>
                </c:pt>
                <c:pt idx="15">
                  <c:v>17</c:v>
                </c:pt>
                <c:pt idx="16">
                  <c:v>19</c:v>
                </c:pt>
                <c:pt idx="17">
                  <c:v>21</c:v>
                </c:pt>
                <c:pt idx="18">
                  <c:v>22</c:v>
                </c:pt>
                <c:pt idx="19">
                  <c:v>26</c:v>
                </c:pt>
                <c:pt idx="20">
                  <c:v>31</c:v>
                </c:pt>
                <c:pt idx="21">
                  <c:v>37</c:v>
                </c:pt>
                <c:pt idx="22">
                  <c:v>38</c:v>
                </c:pt>
                <c:pt idx="23">
                  <c:v>42</c:v>
                </c:pt>
                <c:pt idx="24">
                  <c:v>54</c:v>
                </c:pt>
                <c:pt idx="25">
                  <c:v>61</c:v>
                </c:pt>
                <c:pt idx="26">
                  <c:v>63</c:v>
                </c:pt>
                <c:pt idx="27">
                  <c:v>69</c:v>
                </c:pt>
                <c:pt idx="28">
                  <c:v>94</c:v>
                </c:pt>
                <c:pt idx="29">
                  <c:v>104</c:v>
                </c:pt>
                <c:pt idx="30">
                  <c:v>134</c:v>
                </c:pt>
                <c:pt idx="31">
                  <c:v>230</c:v>
                </c:pt>
                <c:pt idx="32">
                  <c:v>261</c:v>
                </c:pt>
                <c:pt idx="33">
                  <c:v>292</c:v>
                </c:pt>
                <c:pt idx="34">
                  <c:v>389</c:v>
                </c:pt>
                <c:pt idx="35">
                  <c:v>440</c:v>
                </c:pt>
                <c:pt idx="36">
                  <c:v>483</c:v>
                </c:pt>
                <c:pt idx="37">
                  <c:v>569</c:v>
                </c:pt>
                <c:pt idx="38">
                  <c:v>662</c:v>
                </c:pt>
                <c:pt idx="39">
                  <c:v>713</c:v>
                </c:pt>
                <c:pt idx="40">
                  <c:v>739</c:v>
                </c:pt>
                <c:pt idx="41">
                  <c:v>913</c:v>
                </c:pt>
                <c:pt idx="42">
                  <c:v>1075</c:v>
                </c:pt>
                <c:pt idx="43">
                  <c:v>1274</c:v>
                </c:pt>
                <c:pt idx="44">
                  <c:v>1483</c:v>
                </c:pt>
                <c:pt idx="45">
                  <c:v>1697</c:v>
                </c:pt>
                <c:pt idx="46">
                  <c:v>1804</c:v>
                </c:pt>
                <c:pt idx="47">
                  <c:v>1853</c:v>
                </c:pt>
                <c:pt idx="48">
                  <c:v>2052</c:v>
                </c:pt>
                <c:pt idx="49">
                  <c:v>2254</c:v>
                </c:pt>
                <c:pt idx="50">
                  <c:v>2525</c:v>
                </c:pt>
                <c:pt idx="51">
                  <c:v>2766</c:v>
                </c:pt>
                <c:pt idx="52">
                  <c:v>3107</c:v>
                </c:pt>
                <c:pt idx="53">
                  <c:v>3297</c:v>
                </c:pt>
                <c:pt idx="54">
                  <c:v>3387</c:v>
                </c:pt>
                <c:pt idx="55">
                  <c:v>3770</c:v>
                </c:pt>
                <c:pt idx="56">
                  <c:v>4188</c:v>
                </c:pt>
                <c:pt idx="57">
                  <c:v>4325</c:v>
                </c:pt>
                <c:pt idx="58">
                  <c:v>4807</c:v>
                </c:pt>
                <c:pt idx="59">
                  <c:v>5151</c:v>
                </c:pt>
                <c:pt idx="60">
                  <c:v>5338</c:v>
                </c:pt>
                <c:pt idx="61">
                  <c:v>5458</c:v>
                </c:pt>
                <c:pt idx="62">
                  <c:v>5772</c:v>
                </c:pt>
                <c:pt idx="63">
                  <c:v>6015</c:v>
                </c:pt>
                <c:pt idx="64">
                  <c:v>6360</c:v>
                </c:pt>
                <c:pt idx="65">
                  <c:v>6650</c:v>
                </c:pt>
                <c:pt idx="66">
                  <c:v>6896</c:v>
                </c:pt>
                <c:pt idx="67">
                  <c:v>7016</c:v>
                </c:pt>
                <c:pt idx="68">
                  <c:v>7067</c:v>
                </c:pt>
                <c:pt idx="69">
                  <c:v>7274</c:v>
                </c:pt>
                <c:pt idx="70">
                  <c:v>7485</c:v>
                </c:pt>
                <c:pt idx="71">
                  <c:v>7757</c:v>
                </c:pt>
                <c:pt idx="72">
                  <c:v>8002</c:v>
                </c:pt>
                <c:pt idx="73">
                  <c:v>8211</c:v>
                </c:pt>
                <c:pt idx="74">
                  <c:v>8286</c:v>
                </c:pt>
                <c:pt idx="75">
                  <c:v>8318</c:v>
                </c:pt>
                <c:pt idx="76">
                  <c:v>8515</c:v>
                </c:pt>
                <c:pt idx="77">
                  <c:v>8566</c:v>
                </c:pt>
                <c:pt idx="78">
                  <c:v>8733</c:v>
                </c:pt>
                <c:pt idx="79">
                  <c:v>8867</c:v>
                </c:pt>
                <c:pt idx="80">
                  <c:v>8994</c:v>
                </c:pt>
                <c:pt idx="81">
                  <c:v>9035</c:v>
                </c:pt>
                <c:pt idx="82">
                  <c:v>9053</c:v>
                </c:pt>
                <c:pt idx="83">
                  <c:v>9200</c:v>
                </c:pt>
                <c:pt idx="84">
                  <c:v>9311</c:v>
                </c:pt>
                <c:pt idx="85">
                  <c:v>9407</c:v>
                </c:pt>
                <c:pt idx="86">
                  <c:v>9465</c:v>
                </c:pt>
                <c:pt idx="87">
                  <c:v>9548</c:v>
                </c:pt>
                <c:pt idx="88">
                  <c:v>9571</c:v>
                </c:pt>
                <c:pt idx="89">
                  <c:v>9587</c:v>
                </c:pt>
                <c:pt idx="90">
                  <c:v>9699</c:v>
                </c:pt>
                <c:pt idx="91">
                  <c:v>9790</c:v>
                </c:pt>
                <c:pt idx="92">
                  <c:v>9864</c:v>
                </c:pt>
                <c:pt idx="93">
                  <c:v>9927</c:v>
                </c:pt>
                <c:pt idx="94">
                  <c:v>10020</c:v>
                </c:pt>
                <c:pt idx="95">
                  <c:v>10062</c:v>
                </c:pt>
                <c:pt idx="96">
                  <c:v>10089</c:v>
                </c:pt>
                <c:pt idx="97">
                  <c:v>10210</c:v>
                </c:pt>
                <c:pt idx="98">
                  <c:v>10289</c:v>
                </c:pt>
                <c:pt idx="99">
                  <c:v>10354</c:v>
                </c:pt>
                <c:pt idx="100">
                  <c:v>10415</c:v>
                </c:pt>
                <c:pt idx="101">
                  <c:v>10495</c:v>
                </c:pt>
                <c:pt idx="102">
                  <c:v>10516</c:v>
                </c:pt>
                <c:pt idx="103">
                  <c:v>10533</c:v>
                </c:pt>
                <c:pt idx="104">
                  <c:v>10673</c:v>
                </c:pt>
                <c:pt idx="105">
                  <c:v>10745</c:v>
                </c:pt>
                <c:pt idx="106">
                  <c:v>10843</c:v>
                </c:pt>
                <c:pt idx="107">
                  <c:v>10897</c:v>
                </c:pt>
                <c:pt idx="108">
                  <c:v>10983</c:v>
                </c:pt>
                <c:pt idx="109">
                  <c:v>11015</c:v>
                </c:pt>
                <c:pt idx="110">
                  <c:v>11044</c:v>
                </c:pt>
                <c:pt idx="111">
                  <c:v>11210</c:v>
                </c:pt>
                <c:pt idx="112">
                  <c:v>11327</c:v>
                </c:pt>
                <c:pt idx="113">
                  <c:v>11451</c:v>
                </c:pt>
                <c:pt idx="114">
                  <c:v>11483</c:v>
                </c:pt>
                <c:pt idx="115">
                  <c:v>11534</c:v>
                </c:pt>
                <c:pt idx="116">
                  <c:v>11587</c:v>
                </c:pt>
                <c:pt idx="117">
                  <c:v>11636</c:v>
                </c:pt>
                <c:pt idx="118">
                  <c:v>11832</c:v>
                </c:pt>
                <c:pt idx="119">
                  <c:v>11980</c:v>
                </c:pt>
                <c:pt idx="120">
                  <c:v>12093</c:v>
                </c:pt>
                <c:pt idx="121">
                  <c:v>12184</c:v>
                </c:pt>
                <c:pt idx="122">
                  <c:v>12217</c:v>
                </c:pt>
                <c:pt idx="123">
                  <c:v>12282</c:v>
                </c:pt>
                <c:pt idx="124">
                  <c:v>12321</c:v>
                </c:pt>
                <c:pt idx="125">
                  <c:v>12610</c:v>
                </c:pt>
                <c:pt idx="126">
                  <c:v>12759</c:v>
                </c:pt>
                <c:pt idx="127">
                  <c:v>12880</c:v>
                </c:pt>
                <c:pt idx="128">
                  <c:v>12989</c:v>
                </c:pt>
                <c:pt idx="129">
                  <c:v>13122</c:v>
                </c:pt>
                <c:pt idx="130">
                  <c:v>13179</c:v>
                </c:pt>
                <c:pt idx="131">
                  <c:v>13206</c:v>
                </c:pt>
                <c:pt idx="132">
                  <c:v>13450</c:v>
                </c:pt>
                <c:pt idx="133">
                  <c:v>13550</c:v>
                </c:pt>
                <c:pt idx="134">
                  <c:v>13662</c:v>
                </c:pt>
                <c:pt idx="135">
                  <c:v>13720</c:v>
                </c:pt>
                <c:pt idx="136">
                  <c:v>13791</c:v>
                </c:pt>
                <c:pt idx="137">
                  <c:v>13827</c:v>
                </c:pt>
                <c:pt idx="138">
                  <c:v>13856</c:v>
                </c:pt>
                <c:pt idx="139">
                  <c:v>13987</c:v>
                </c:pt>
                <c:pt idx="140">
                  <c:v>14064</c:v>
                </c:pt>
                <c:pt idx="141">
                  <c:v>14137</c:v>
                </c:pt>
                <c:pt idx="142">
                  <c:v>14206</c:v>
                </c:pt>
                <c:pt idx="143">
                  <c:v>14289</c:v>
                </c:pt>
                <c:pt idx="144">
                  <c:v>14317</c:v>
                </c:pt>
                <c:pt idx="145">
                  <c:v>14331</c:v>
                </c:pt>
                <c:pt idx="146">
                  <c:v>14422</c:v>
                </c:pt>
                <c:pt idx="147">
                  <c:v>14501</c:v>
                </c:pt>
                <c:pt idx="148">
                  <c:v>14561</c:v>
                </c:pt>
                <c:pt idx="149">
                  <c:v>14595</c:v>
                </c:pt>
                <c:pt idx="150">
                  <c:v>14644</c:v>
                </c:pt>
                <c:pt idx="151">
                  <c:v>14675</c:v>
                </c:pt>
                <c:pt idx="152">
                  <c:v>14689</c:v>
                </c:pt>
                <c:pt idx="153">
                  <c:v>14772</c:v>
                </c:pt>
                <c:pt idx="154">
                  <c:v>14848</c:v>
                </c:pt>
                <c:pt idx="155">
                  <c:v>14907</c:v>
                </c:pt>
                <c:pt idx="156">
                  <c:v>14954</c:v>
                </c:pt>
                <c:pt idx="157">
                  <c:v>15003</c:v>
                </c:pt>
                <c:pt idx="158">
                  <c:v>15015</c:v>
                </c:pt>
                <c:pt idx="159">
                  <c:v>15033</c:v>
                </c:pt>
                <c:pt idx="160">
                  <c:v>15108</c:v>
                </c:pt>
                <c:pt idx="161">
                  <c:v>15130</c:v>
                </c:pt>
                <c:pt idx="162">
                  <c:v>15164</c:v>
                </c:pt>
                <c:pt idx="163">
                  <c:v>15206</c:v>
                </c:pt>
                <c:pt idx="164">
                  <c:v>15246</c:v>
                </c:pt>
                <c:pt idx="165">
                  <c:v>15261</c:v>
                </c:pt>
                <c:pt idx="166">
                  <c:v>15276</c:v>
                </c:pt>
                <c:pt idx="167">
                  <c:v>15341</c:v>
                </c:pt>
                <c:pt idx="168">
                  <c:v>15375</c:v>
                </c:pt>
                <c:pt idx="169">
                  <c:v>15411</c:v>
                </c:pt>
                <c:pt idx="170">
                  <c:v>15446</c:v>
                </c:pt>
                <c:pt idx="171">
                  <c:v>15486</c:v>
                </c:pt>
                <c:pt idx="172">
                  <c:v>15493</c:v>
                </c:pt>
                <c:pt idx="173">
                  <c:v>15515</c:v>
                </c:pt>
                <c:pt idx="174">
                  <c:v>15595</c:v>
                </c:pt>
                <c:pt idx="175">
                  <c:v>15643</c:v>
                </c:pt>
                <c:pt idx="176">
                  <c:v>15678</c:v>
                </c:pt>
                <c:pt idx="177">
                  <c:v>15712</c:v>
                </c:pt>
                <c:pt idx="178">
                  <c:v>15756</c:v>
                </c:pt>
                <c:pt idx="179">
                  <c:v>15767</c:v>
                </c:pt>
                <c:pt idx="180">
                  <c:v>15777</c:v>
                </c:pt>
                <c:pt idx="181">
                  <c:v>15839</c:v>
                </c:pt>
                <c:pt idx="182">
                  <c:v>15881</c:v>
                </c:pt>
                <c:pt idx="183">
                  <c:v>15938</c:v>
                </c:pt>
                <c:pt idx="184">
                  <c:v>15985</c:v>
                </c:pt>
                <c:pt idx="185">
                  <c:v>16020</c:v>
                </c:pt>
                <c:pt idx="186">
                  <c:v>16034</c:v>
                </c:pt>
                <c:pt idx="187">
                  <c:v>16046</c:v>
                </c:pt>
                <c:pt idx="188">
                  <c:v>16111</c:v>
                </c:pt>
                <c:pt idx="189">
                  <c:v>16149</c:v>
                </c:pt>
                <c:pt idx="190">
                  <c:v>16179</c:v>
                </c:pt>
                <c:pt idx="191">
                  <c:v>16209</c:v>
                </c:pt>
                <c:pt idx="192">
                  <c:v>16229</c:v>
                </c:pt>
                <c:pt idx="193">
                  <c:v>16241</c:v>
                </c:pt>
                <c:pt idx="194">
                  <c:v>16248</c:v>
                </c:pt>
                <c:pt idx="195">
                  <c:v>16289</c:v>
                </c:pt>
                <c:pt idx="196">
                  <c:v>16315</c:v>
                </c:pt>
                <c:pt idx="197">
                  <c:v>16342</c:v>
                </c:pt>
                <c:pt idx="198">
                  <c:v>16358</c:v>
                </c:pt>
                <c:pt idx="199">
                  <c:v>16381</c:v>
                </c:pt>
                <c:pt idx="200">
                  <c:v>16383</c:v>
                </c:pt>
                <c:pt idx="201">
                  <c:v>16388</c:v>
                </c:pt>
                <c:pt idx="202">
                  <c:v>16424</c:v>
                </c:pt>
                <c:pt idx="203">
                  <c:v>16444</c:v>
                </c:pt>
                <c:pt idx="204">
                  <c:v>16454</c:v>
                </c:pt>
                <c:pt idx="205">
                  <c:v>16464</c:v>
                </c:pt>
                <c:pt idx="206">
                  <c:v>16481</c:v>
                </c:pt>
                <c:pt idx="207">
                  <c:v>16484</c:v>
                </c:pt>
                <c:pt idx="208">
                  <c:v>16485</c:v>
                </c:pt>
                <c:pt idx="209">
                  <c:v>16509</c:v>
                </c:pt>
                <c:pt idx="210">
                  <c:v>16528</c:v>
                </c:pt>
                <c:pt idx="211">
                  <c:v>16542</c:v>
                </c:pt>
                <c:pt idx="212">
                  <c:v>16554</c:v>
                </c:pt>
                <c:pt idx="213">
                  <c:v>16559</c:v>
                </c:pt>
                <c:pt idx="214">
                  <c:v>16563</c:v>
                </c:pt>
                <c:pt idx="215">
                  <c:v>16565</c:v>
                </c:pt>
                <c:pt idx="216">
                  <c:v>16572</c:v>
                </c:pt>
                <c:pt idx="217">
                  <c:v>16594</c:v>
                </c:pt>
                <c:pt idx="218">
                  <c:v>16612</c:v>
                </c:pt>
                <c:pt idx="219">
                  <c:v>16628</c:v>
                </c:pt>
                <c:pt idx="220">
                  <c:v>16636</c:v>
                </c:pt>
                <c:pt idx="221">
                  <c:v>16642</c:v>
                </c:pt>
                <c:pt idx="222">
                  <c:v>16643</c:v>
                </c:pt>
                <c:pt idx="223">
                  <c:v>16652</c:v>
                </c:pt>
                <c:pt idx="224">
                  <c:v>16659</c:v>
                </c:pt>
                <c:pt idx="225">
                  <c:v>16664</c:v>
                </c:pt>
                <c:pt idx="226">
                  <c:v>16670</c:v>
                </c:pt>
                <c:pt idx="227">
                  <c:v>16677</c:v>
                </c:pt>
                <c:pt idx="228">
                  <c:v>16678</c:v>
                </c:pt>
                <c:pt idx="229">
                  <c:v>16679</c:v>
                </c:pt>
                <c:pt idx="230">
                  <c:v>16691</c:v>
                </c:pt>
                <c:pt idx="231">
                  <c:v>16698</c:v>
                </c:pt>
                <c:pt idx="232">
                  <c:v>16703</c:v>
                </c:pt>
                <c:pt idx="233">
                  <c:v>16707</c:v>
                </c:pt>
                <c:pt idx="234">
                  <c:v>16710</c:v>
                </c:pt>
                <c:pt idx="235">
                  <c:v>16711</c:v>
                </c:pt>
                <c:pt idx="236">
                  <c:v>16711</c:v>
                </c:pt>
                <c:pt idx="237">
                  <c:v>16719</c:v>
                </c:pt>
                <c:pt idx="238">
                  <c:v>16728</c:v>
                </c:pt>
                <c:pt idx="239">
                  <c:v>16732</c:v>
                </c:pt>
                <c:pt idx="240">
                  <c:v>16734</c:v>
                </c:pt>
                <c:pt idx="241">
                  <c:v>16739</c:v>
                </c:pt>
                <c:pt idx="242">
                  <c:v>16739</c:v>
                </c:pt>
                <c:pt idx="243">
                  <c:v>16740</c:v>
                </c:pt>
                <c:pt idx="244">
                  <c:v>16744</c:v>
                </c:pt>
                <c:pt idx="245">
                  <c:v>16746</c:v>
                </c:pt>
                <c:pt idx="246">
                  <c:v>16747</c:v>
                </c:pt>
                <c:pt idx="247">
                  <c:v>16752</c:v>
                </c:pt>
                <c:pt idx="248">
                  <c:v>16754</c:v>
                </c:pt>
                <c:pt idx="249">
                  <c:v>16755</c:v>
                </c:pt>
                <c:pt idx="250">
                  <c:v>16755</c:v>
                </c:pt>
                <c:pt idx="251">
                  <c:v>16758</c:v>
                </c:pt>
                <c:pt idx="252">
                  <c:v>16762</c:v>
                </c:pt>
                <c:pt idx="253">
                  <c:v>16762</c:v>
                </c:pt>
                <c:pt idx="254">
                  <c:v>16764</c:v>
                </c:pt>
                <c:pt idx="255">
                  <c:v>16765</c:v>
                </c:pt>
                <c:pt idx="256">
                  <c:v>16765</c:v>
                </c:pt>
                <c:pt idx="257">
                  <c:v>16765</c:v>
                </c:pt>
                <c:pt idx="258">
                  <c:v>16770</c:v>
                </c:pt>
                <c:pt idx="259">
                  <c:v>16775</c:v>
                </c:pt>
                <c:pt idx="260">
                  <c:v>16777</c:v>
                </c:pt>
                <c:pt idx="261">
                  <c:v>16780</c:v>
                </c:pt>
                <c:pt idx="262">
                  <c:v>16781</c:v>
                </c:pt>
                <c:pt idx="263">
                  <c:v>16781</c:v>
                </c:pt>
                <c:pt idx="264">
                  <c:v>16781</c:v>
                </c:pt>
                <c:pt idx="265">
                  <c:v>16783</c:v>
                </c:pt>
                <c:pt idx="266">
                  <c:v>16784</c:v>
                </c:pt>
                <c:pt idx="267">
                  <c:v>16785</c:v>
                </c:pt>
                <c:pt idx="268">
                  <c:v>16787</c:v>
                </c:pt>
                <c:pt idx="269">
                  <c:v>16787</c:v>
                </c:pt>
                <c:pt idx="270">
                  <c:v>16787</c:v>
                </c:pt>
                <c:pt idx="271">
                  <c:v>16787</c:v>
                </c:pt>
                <c:pt idx="272">
                  <c:v>16787</c:v>
                </c:pt>
                <c:pt idx="273">
                  <c:v>16787</c:v>
                </c:pt>
                <c:pt idx="274">
                  <c:v>16787</c:v>
                </c:pt>
                <c:pt idx="275">
                  <c:v>16789</c:v>
                </c:pt>
                <c:pt idx="276">
                  <c:v>16789</c:v>
                </c:pt>
                <c:pt idx="277">
                  <c:v>16789</c:v>
                </c:pt>
                <c:pt idx="278">
                  <c:v>16789</c:v>
                </c:pt>
                <c:pt idx="279">
                  <c:v>16789</c:v>
                </c:pt>
                <c:pt idx="280">
                  <c:v>16789</c:v>
                </c:pt>
                <c:pt idx="281">
                  <c:v>16789</c:v>
                </c:pt>
                <c:pt idx="282">
                  <c:v>16789</c:v>
                </c:pt>
                <c:pt idx="283">
                  <c:v>16789</c:v>
                </c:pt>
                <c:pt idx="284">
                  <c:v>16789</c:v>
                </c:pt>
                <c:pt idx="285">
                  <c:v>16789</c:v>
                </c:pt>
                <c:pt idx="286">
                  <c:v>16789</c:v>
                </c:pt>
                <c:pt idx="287">
                  <c:v>16789</c:v>
                </c:pt>
                <c:pt idx="288">
                  <c:v>16789</c:v>
                </c:pt>
                <c:pt idx="289">
                  <c:v>16789</c:v>
                </c:pt>
                <c:pt idx="290">
                  <c:v>16789</c:v>
                </c:pt>
                <c:pt idx="291">
                  <c:v>16789</c:v>
                </c:pt>
                <c:pt idx="292">
                  <c:v>16789</c:v>
                </c:pt>
                <c:pt idx="293">
                  <c:v>16789</c:v>
                </c:pt>
                <c:pt idx="294">
                  <c:v>16789</c:v>
                </c:pt>
                <c:pt idx="295">
                  <c:v>16789</c:v>
                </c:pt>
                <c:pt idx="296">
                  <c:v>16789</c:v>
                </c:pt>
                <c:pt idx="297">
                  <c:v>16789</c:v>
                </c:pt>
                <c:pt idx="298">
                  <c:v>16789</c:v>
                </c:pt>
                <c:pt idx="299">
                  <c:v>16789</c:v>
                </c:pt>
                <c:pt idx="300">
                  <c:v>16789</c:v>
                </c:pt>
                <c:pt idx="301">
                  <c:v>16789</c:v>
                </c:pt>
                <c:pt idx="302">
                  <c:v>16790</c:v>
                </c:pt>
                <c:pt idx="303">
                  <c:v>16790</c:v>
                </c:pt>
                <c:pt idx="304">
                  <c:v>16790</c:v>
                </c:pt>
                <c:pt idx="305">
                  <c:v>16790</c:v>
                </c:pt>
                <c:pt idx="306">
                  <c:v>16790</c:v>
                </c:pt>
                <c:pt idx="307">
                  <c:v>16790</c:v>
                </c:pt>
                <c:pt idx="308">
                  <c:v>16790</c:v>
                </c:pt>
                <c:pt idx="309">
                  <c:v>16791</c:v>
                </c:pt>
                <c:pt idx="310">
                  <c:v>16792</c:v>
                </c:pt>
                <c:pt idx="311">
                  <c:v>16792</c:v>
                </c:pt>
                <c:pt idx="312">
                  <c:v>16792</c:v>
                </c:pt>
                <c:pt idx="313">
                  <c:v>16793</c:v>
                </c:pt>
                <c:pt idx="314">
                  <c:v>16793</c:v>
                </c:pt>
                <c:pt idx="315">
                  <c:v>16793</c:v>
                </c:pt>
                <c:pt idx="316">
                  <c:v>16793</c:v>
                </c:pt>
                <c:pt idx="317">
                  <c:v>16793</c:v>
                </c:pt>
                <c:pt idx="318">
                  <c:v>16793</c:v>
                </c:pt>
                <c:pt idx="319">
                  <c:v>16793</c:v>
                </c:pt>
                <c:pt idx="320">
                  <c:v>16793</c:v>
                </c:pt>
                <c:pt idx="321">
                  <c:v>16793</c:v>
                </c:pt>
                <c:pt idx="322">
                  <c:v>16793</c:v>
                </c:pt>
                <c:pt idx="323">
                  <c:v>16794</c:v>
                </c:pt>
                <c:pt idx="324">
                  <c:v>16794</c:v>
                </c:pt>
                <c:pt idx="325">
                  <c:v>16794</c:v>
                </c:pt>
                <c:pt idx="326">
                  <c:v>16794</c:v>
                </c:pt>
                <c:pt idx="327">
                  <c:v>16794</c:v>
                </c:pt>
                <c:pt idx="328">
                  <c:v>16794</c:v>
                </c:pt>
                <c:pt idx="329">
                  <c:v>16795</c:v>
                </c:pt>
                <c:pt idx="330">
                  <c:v>16797</c:v>
                </c:pt>
                <c:pt idx="331">
                  <c:v>16797</c:v>
                </c:pt>
                <c:pt idx="332">
                  <c:v>16797</c:v>
                </c:pt>
                <c:pt idx="333">
                  <c:v>16797</c:v>
                </c:pt>
                <c:pt idx="334">
                  <c:v>16797</c:v>
                </c:pt>
                <c:pt idx="335">
                  <c:v>16797</c:v>
                </c:pt>
                <c:pt idx="336">
                  <c:v>16797</c:v>
                </c:pt>
                <c:pt idx="337">
                  <c:v>16797</c:v>
                </c:pt>
                <c:pt idx="338">
                  <c:v>16797</c:v>
                </c:pt>
                <c:pt idx="339">
                  <c:v>16797</c:v>
                </c:pt>
                <c:pt idx="340">
                  <c:v>16797</c:v>
                </c:pt>
                <c:pt idx="341">
                  <c:v>16798</c:v>
                </c:pt>
                <c:pt idx="342">
                  <c:v>16798</c:v>
                </c:pt>
                <c:pt idx="343">
                  <c:v>16798</c:v>
                </c:pt>
                <c:pt idx="344">
                  <c:v>16799</c:v>
                </c:pt>
                <c:pt idx="345">
                  <c:v>16799</c:v>
                </c:pt>
                <c:pt idx="346">
                  <c:v>16799</c:v>
                </c:pt>
                <c:pt idx="347">
                  <c:v>16799</c:v>
                </c:pt>
                <c:pt idx="348">
                  <c:v>16799</c:v>
                </c:pt>
                <c:pt idx="349">
                  <c:v>16799</c:v>
                </c:pt>
                <c:pt idx="350">
                  <c:v>16799</c:v>
                </c:pt>
                <c:pt idx="351">
                  <c:v>16799</c:v>
                </c:pt>
                <c:pt idx="352">
                  <c:v>16799</c:v>
                </c:pt>
                <c:pt idx="353">
                  <c:v>16799</c:v>
                </c:pt>
                <c:pt idx="354">
                  <c:v>16799</c:v>
                </c:pt>
                <c:pt idx="355">
                  <c:v>16799</c:v>
                </c:pt>
                <c:pt idx="356">
                  <c:v>16800</c:v>
                </c:pt>
                <c:pt idx="357">
                  <c:v>16800</c:v>
                </c:pt>
                <c:pt idx="358">
                  <c:v>16800</c:v>
                </c:pt>
                <c:pt idx="359">
                  <c:v>16801</c:v>
                </c:pt>
                <c:pt idx="360">
                  <c:v>16802</c:v>
                </c:pt>
                <c:pt idx="361">
                  <c:v>16803</c:v>
                </c:pt>
                <c:pt idx="362">
                  <c:v>16803</c:v>
                </c:pt>
                <c:pt idx="363">
                  <c:v>16803</c:v>
                </c:pt>
                <c:pt idx="364">
                  <c:v>16803</c:v>
                </c:pt>
                <c:pt idx="365">
                  <c:v>16808</c:v>
                </c:pt>
                <c:pt idx="366">
                  <c:v>16809</c:v>
                </c:pt>
                <c:pt idx="367">
                  <c:v>16810</c:v>
                </c:pt>
                <c:pt idx="368">
                  <c:v>16810</c:v>
                </c:pt>
                <c:pt idx="369">
                  <c:v>16810</c:v>
                </c:pt>
                <c:pt idx="370">
                  <c:v>16811</c:v>
                </c:pt>
                <c:pt idx="371">
                  <c:v>16813</c:v>
                </c:pt>
                <c:pt idx="372">
                  <c:v>16814</c:v>
                </c:pt>
                <c:pt idx="373">
                  <c:v>16815</c:v>
                </c:pt>
                <c:pt idx="374">
                  <c:v>16816</c:v>
                </c:pt>
                <c:pt idx="375">
                  <c:v>16816</c:v>
                </c:pt>
                <c:pt idx="376">
                  <c:v>16817</c:v>
                </c:pt>
                <c:pt idx="377">
                  <c:v>16817</c:v>
                </c:pt>
                <c:pt idx="378">
                  <c:v>16818</c:v>
                </c:pt>
                <c:pt idx="379">
                  <c:v>16818</c:v>
                </c:pt>
                <c:pt idx="380">
                  <c:v>16818</c:v>
                </c:pt>
                <c:pt idx="381">
                  <c:v>16818</c:v>
                </c:pt>
                <c:pt idx="382">
                  <c:v>16819</c:v>
                </c:pt>
                <c:pt idx="383">
                  <c:v>16819</c:v>
                </c:pt>
                <c:pt idx="384">
                  <c:v>16823</c:v>
                </c:pt>
                <c:pt idx="385">
                  <c:v>16827</c:v>
                </c:pt>
                <c:pt idx="386">
                  <c:v>16829</c:v>
                </c:pt>
                <c:pt idx="387">
                  <c:v>16829</c:v>
                </c:pt>
                <c:pt idx="388">
                  <c:v>16829</c:v>
                </c:pt>
                <c:pt idx="389">
                  <c:v>16830</c:v>
                </c:pt>
                <c:pt idx="390">
                  <c:v>16831</c:v>
                </c:pt>
                <c:pt idx="391">
                  <c:v>16836</c:v>
                </c:pt>
                <c:pt idx="392">
                  <c:v>16838</c:v>
                </c:pt>
                <c:pt idx="393">
                  <c:v>16845</c:v>
                </c:pt>
                <c:pt idx="394">
                  <c:v>16848</c:v>
                </c:pt>
                <c:pt idx="395">
                  <c:v>16850</c:v>
                </c:pt>
                <c:pt idx="396">
                  <c:v>16850</c:v>
                </c:pt>
                <c:pt idx="397">
                  <c:v>16850</c:v>
                </c:pt>
                <c:pt idx="398">
                  <c:v>16854</c:v>
                </c:pt>
                <c:pt idx="399">
                  <c:v>16859</c:v>
                </c:pt>
                <c:pt idx="400">
                  <c:v>16861</c:v>
                </c:pt>
                <c:pt idx="401">
                  <c:v>16862</c:v>
                </c:pt>
                <c:pt idx="402">
                  <c:v>16864</c:v>
                </c:pt>
                <c:pt idx="403">
                  <c:v>16865</c:v>
                </c:pt>
                <c:pt idx="404">
                  <c:v>16865</c:v>
                </c:pt>
                <c:pt idx="405">
                  <c:v>16867</c:v>
                </c:pt>
                <c:pt idx="406">
                  <c:v>16870</c:v>
                </c:pt>
                <c:pt idx="407">
                  <c:v>16871</c:v>
                </c:pt>
                <c:pt idx="408">
                  <c:v>16874</c:v>
                </c:pt>
                <c:pt idx="409">
                  <c:v>16881</c:v>
                </c:pt>
                <c:pt idx="410">
                  <c:v>16883</c:v>
                </c:pt>
                <c:pt idx="411">
                  <c:v>16884</c:v>
                </c:pt>
                <c:pt idx="412">
                  <c:v>16896</c:v>
                </c:pt>
                <c:pt idx="413">
                  <c:v>16904</c:v>
                </c:pt>
                <c:pt idx="414">
                  <c:v>16915</c:v>
                </c:pt>
                <c:pt idx="415">
                  <c:v>16922</c:v>
                </c:pt>
                <c:pt idx="416">
                  <c:v>16933</c:v>
                </c:pt>
                <c:pt idx="417">
                  <c:v>16933</c:v>
                </c:pt>
                <c:pt idx="418">
                  <c:v>16937</c:v>
                </c:pt>
                <c:pt idx="419">
                  <c:v>16957</c:v>
                </c:pt>
                <c:pt idx="420">
                  <c:v>16963</c:v>
                </c:pt>
                <c:pt idx="421">
                  <c:v>16981</c:v>
                </c:pt>
                <c:pt idx="422">
                  <c:v>16984</c:v>
                </c:pt>
                <c:pt idx="423">
                  <c:v>16992</c:v>
                </c:pt>
                <c:pt idx="424">
                  <c:v>16997</c:v>
                </c:pt>
                <c:pt idx="425">
                  <c:v>17001</c:v>
                </c:pt>
                <c:pt idx="426">
                  <c:v>17042</c:v>
                </c:pt>
                <c:pt idx="427">
                  <c:v>17068</c:v>
                </c:pt>
                <c:pt idx="428">
                  <c:v>17089</c:v>
                </c:pt>
                <c:pt idx="429">
                  <c:v>17114</c:v>
                </c:pt>
                <c:pt idx="430">
                  <c:v>17141</c:v>
                </c:pt>
                <c:pt idx="431">
                  <c:v>17154</c:v>
                </c:pt>
                <c:pt idx="432">
                  <c:v>17159</c:v>
                </c:pt>
                <c:pt idx="433">
                  <c:v>17211</c:v>
                </c:pt>
                <c:pt idx="434">
                  <c:v>17239</c:v>
                </c:pt>
                <c:pt idx="435">
                  <c:v>17270</c:v>
                </c:pt>
                <c:pt idx="436">
                  <c:v>17308</c:v>
                </c:pt>
                <c:pt idx="437">
                  <c:v>17342</c:v>
                </c:pt>
                <c:pt idx="438">
                  <c:v>17362</c:v>
                </c:pt>
                <c:pt idx="439">
                  <c:v>17376</c:v>
                </c:pt>
                <c:pt idx="440">
                  <c:v>17434</c:v>
                </c:pt>
                <c:pt idx="441">
                  <c:v>17468</c:v>
                </c:pt>
                <c:pt idx="442">
                  <c:v>17482</c:v>
                </c:pt>
                <c:pt idx="443">
                  <c:v>17524</c:v>
                </c:pt>
                <c:pt idx="444">
                  <c:v>17576</c:v>
                </c:pt>
                <c:pt idx="445">
                  <c:v>17589</c:v>
                </c:pt>
                <c:pt idx="446">
                  <c:v>17596</c:v>
                </c:pt>
                <c:pt idx="447">
                  <c:v>17670</c:v>
                </c:pt>
                <c:pt idx="448">
                  <c:v>17714</c:v>
                </c:pt>
                <c:pt idx="449">
                  <c:v>17763</c:v>
                </c:pt>
                <c:pt idx="450">
                  <c:v>17812</c:v>
                </c:pt>
                <c:pt idx="451">
                  <c:v>17862</c:v>
                </c:pt>
                <c:pt idx="452">
                  <c:v>17884</c:v>
                </c:pt>
                <c:pt idx="453">
                  <c:v>17891</c:v>
                </c:pt>
                <c:pt idx="454">
                  <c:v>17936</c:v>
                </c:pt>
                <c:pt idx="455">
                  <c:v>17984</c:v>
                </c:pt>
                <c:pt idx="456">
                  <c:v>18027</c:v>
                </c:pt>
                <c:pt idx="457">
                  <c:v>18060</c:v>
                </c:pt>
                <c:pt idx="458">
                  <c:v>18090</c:v>
                </c:pt>
                <c:pt idx="459">
                  <c:v>18111</c:v>
                </c:pt>
                <c:pt idx="460">
                  <c:v>18121</c:v>
                </c:pt>
                <c:pt idx="461">
                  <c:v>18171</c:v>
                </c:pt>
                <c:pt idx="462">
                  <c:v>18207</c:v>
                </c:pt>
                <c:pt idx="463">
                  <c:v>18242</c:v>
                </c:pt>
                <c:pt idx="464">
                  <c:v>18268</c:v>
                </c:pt>
                <c:pt idx="465">
                  <c:v>18287</c:v>
                </c:pt>
                <c:pt idx="466">
                  <c:v>18300</c:v>
                </c:pt>
                <c:pt idx="467">
                  <c:v>18309</c:v>
                </c:pt>
                <c:pt idx="468">
                  <c:v>18341</c:v>
                </c:pt>
                <c:pt idx="469">
                  <c:v>18377</c:v>
                </c:pt>
                <c:pt idx="470">
                  <c:v>18405</c:v>
                </c:pt>
                <c:pt idx="471">
                  <c:v>18423</c:v>
                </c:pt>
                <c:pt idx="472">
                  <c:v>18438</c:v>
                </c:pt>
                <c:pt idx="473">
                  <c:v>18446</c:v>
                </c:pt>
                <c:pt idx="474">
                  <c:v>18456</c:v>
                </c:pt>
                <c:pt idx="475">
                  <c:v>18483</c:v>
                </c:pt>
                <c:pt idx="476">
                  <c:v>18496</c:v>
                </c:pt>
                <c:pt idx="477">
                  <c:v>18505</c:v>
                </c:pt>
                <c:pt idx="478">
                  <c:v>18509</c:v>
                </c:pt>
                <c:pt idx="479">
                  <c:v>18516</c:v>
                </c:pt>
                <c:pt idx="480">
                  <c:v>18519</c:v>
                </c:pt>
                <c:pt idx="481">
                  <c:v>18524</c:v>
                </c:pt>
                <c:pt idx="482">
                  <c:v>18534</c:v>
                </c:pt>
                <c:pt idx="483">
                  <c:v>18551</c:v>
                </c:pt>
                <c:pt idx="484">
                  <c:v>18560</c:v>
                </c:pt>
                <c:pt idx="485">
                  <c:v>18570</c:v>
                </c:pt>
                <c:pt idx="486">
                  <c:v>18576</c:v>
                </c:pt>
                <c:pt idx="487">
                  <c:v>18576</c:v>
                </c:pt>
                <c:pt idx="488">
                  <c:v>18580</c:v>
                </c:pt>
                <c:pt idx="489">
                  <c:v>18600</c:v>
                </c:pt>
                <c:pt idx="490">
                  <c:v>18614</c:v>
                </c:pt>
                <c:pt idx="491">
                  <c:v>18619</c:v>
                </c:pt>
                <c:pt idx="492">
                  <c:v>18628</c:v>
                </c:pt>
                <c:pt idx="493">
                  <c:v>18639</c:v>
                </c:pt>
                <c:pt idx="494">
                  <c:v>18642</c:v>
                </c:pt>
                <c:pt idx="495">
                  <c:v>18645</c:v>
                </c:pt>
                <c:pt idx="496">
                  <c:v>18663</c:v>
                </c:pt>
                <c:pt idx="497">
                  <c:v>18674</c:v>
                </c:pt>
                <c:pt idx="498">
                  <c:v>18683</c:v>
                </c:pt>
                <c:pt idx="499">
                  <c:v>18696</c:v>
                </c:pt>
                <c:pt idx="500">
                  <c:v>18708</c:v>
                </c:pt>
                <c:pt idx="501">
                  <c:v>18714</c:v>
                </c:pt>
                <c:pt idx="502">
                  <c:v>18725</c:v>
                </c:pt>
                <c:pt idx="503">
                  <c:v>18772</c:v>
                </c:pt>
                <c:pt idx="504">
                  <c:v>18807</c:v>
                </c:pt>
                <c:pt idx="505">
                  <c:v>18848</c:v>
                </c:pt>
                <c:pt idx="506">
                  <c:v>18894</c:v>
                </c:pt>
                <c:pt idx="507">
                  <c:v>18962</c:v>
                </c:pt>
                <c:pt idx="508">
                  <c:v>18982</c:v>
                </c:pt>
                <c:pt idx="509">
                  <c:v>18997</c:v>
                </c:pt>
                <c:pt idx="510">
                  <c:v>19090</c:v>
                </c:pt>
                <c:pt idx="511">
                  <c:v>19193</c:v>
                </c:pt>
                <c:pt idx="512">
                  <c:v>19290</c:v>
                </c:pt>
                <c:pt idx="513">
                  <c:v>19349</c:v>
                </c:pt>
                <c:pt idx="514">
                  <c:v>19423</c:v>
                </c:pt>
                <c:pt idx="515">
                  <c:v>19453</c:v>
                </c:pt>
                <c:pt idx="516">
                  <c:v>19484</c:v>
                </c:pt>
                <c:pt idx="517">
                  <c:v>19600</c:v>
                </c:pt>
                <c:pt idx="518">
                  <c:v>19716</c:v>
                </c:pt>
                <c:pt idx="519">
                  <c:v>19797</c:v>
                </c:pt>
                <c:pt idx="520">
                  <c:v>19865</c:v>
                </c:pt>
                <c:pt idx="521">
                  <c:v>19948</c:v>
                </c:pt>
                <c:pt idx="522">
                  <c:v>19980</c:v>
                </c:pt>
                <c:pt idx="523">
                  <c:v>20003</c:v>
                </c:pt>
                <c:pt idx="524">
                  <c:v>20135</c:v>
                </c:pt>
                <c:pt idx="525">
                  <c:v>20221</c:v>
                </c:pt>
                <c:pt idx="526">
                  <c:v>20287</c:v>
                </c:pt>
                <c:pt idx="527">
                  <c:v>20354</c:v>
                </c:pt>
                <c:pt idx="528">
                  <c:v>20410</c:v>
                </c:pt>
                <c:pt idx="529">
                  <c:v>20446</c:v>
                </c:pt>
                <c:pt idx="530">
                  <c:v>20472</c:v>
                </c:pt>
                <c:pt idx="531">
                  <c:v>20546</c:v>
                </c:pt>
                <c:pt idx="532">
                  <c:v>20655</c:v>
                </c:pt>
                <c:pt idx="533">
                  <c:v>20733</c:v>
                </c:pt>
                <c:pt idx="534">
                  <c:v>20788</c:v>
                </c:pt>
                <c:pt idx="535">
                  <c:v>208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37</c:f>
              <c:numCache>
                <c:formatCode>m/d/yyyy</c:formatCode>
                <c:ptCount val="5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</c:numCache>
            </c:numRef>
          </c:cat>
          <c:val>
            <c:numRef>
              <c:f>List1!$D$2:$D$537</c:f>
              <c:numCache>
                <c:formatCode>General</c:formatCode>
                <c:ptCount val="536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3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  <c:pt idx="11">
                  <c:v>23</c:v>
                </c:pt>
                <c:pt idx="12">
                  <c:v>24</c:v>
                </c:pt>
                <c:pt idx="13">
                  <c:v>28</c:v>
                </c:pt>
                <c:pt idx="14">
                  <c:v>29</c:v>
                </c:pt>
                <c:pt idx="15">
                  <c:v>31</c:v>
                </c:pt>
                <c:pt idx="16">
                  <c:v>33</c:v>
                </c:pt>
                <c:pt idx="17">
                  <c:v>37</c:v>
                </c:pt>
                <c:pt idx="18">
                  <c:v>39</c:v>
                </c:pt>
                <c:pt idx="19">
                  <c:v>46</c:v>
                </c:pt>
                <c:pt idx="20">
                  <c:v>52</c:v>
                </c:pt>
                <c:pt idx="21">
                  <c:v>59</c:v>
                </c:pt>
                <c:pt idx="22">
                  <c:v>61</c:v>
                </c:pt>
                <c:pt idx="23">
                  <c:v>68</c:v>
                </c:pt>
                <c:pt idx="24">
                  <c:v>81</c:v>
                </c:pt>
                <c:pt idx="25">
                  <c:v>93</c:v>
                </c:pt>
                <c:pt idx="26">
                  <c:v>100</c:v>
                </c:pt>
                <c:pt idx="27">
                  <c:v>109</c:v>
                </c:pt>
                <c:pt idx="28">
                  <c:v>139</c:v>
                </c:pt>
                <c:pt idx="29">
                  <c:v>177</c:v>
                </c:pt>
                <c:pt idx="30">
                  <c:v>238</c:v>
                </c:pt>
                <c:pt idx="31">
                  <c:v>396</c:v>
                </c:pt>
                <c:pt idx="32">
                  <c:v>463</c:v>
                </c:pt>
                <c:pt idx="33">
                  <c:v>548</c:v>
                </c:pt>
                <c:pt idx="34">
                  <c:v>812</c:v>
                </c:pt>
                <c:pt idx="35">
                  <c:v>945</c:v>
                </c:pt>
                <c:pt idx="36">
                  <c:v>1033</c:v>
                </c:pt>
                <c:pt idx="37">
                  <c:v>1198</c:v>
                </c:pt>
                <c:pt idx="38">
                  <c:v>1430</c:v>
                </c:pt>
                <c:pt idx="39">
                  <c:v>1511</c:v>
                </c:pt>
                <c:pt idx="40">
                  <c:v>1550</c:v>
                </c:pt>
                <c:pt idx="41">
                  <c:v>1862</c:v>
                </c:pt>
                <c:pt idx="42">
                  <c:v>2249</c:v>
                </c:pt>
                <c:pt idx="43">
                  <c:v>2629</c:v>
                </c:pt>
                <c:pt idx="44">
                  <c:v>3038</c:v>
                </c:pt>
                <c:pt idx="45">
                  <c:v>3457</c:v>
                </c:pt>
                <c:pt idx="46">
                  <c:v>3720</c:v>
                </c:pt>
                <c:pt idx="47">
                  <c:v>3810</c:v>
                </c:pt>
                <c:pt idx="48">
                  <c:v>4252</c:v>
                </c:pt>
                <c:pt idx="49">
                  <c:v>4654</c:v>
                </c:pt>
                <c:pt idx="50">
                  <c:v>5252</c:v>
                </c:pt>
                <c:pt idx="51">
                  <c:v>5727</c:v>
                </c:pt>
                <c:pt idx="52">
                  <c:v>6492</c:v>
                </c:pt>
                <c:pt idx="53">
                  <c:v>6910</c:v>
                </c:pt>
                <c:pt idx="54">
                  <c:v>7198</c:v>
                </c:pt>
                <c:pt idx="55">
                  <c:v>7970</c:v>
                </c:pt>
                <c:pt idx="56">
                  <c:v>8924</c:v>
                </c:pt>
                <c:pt idx="57">
                  <c:v>9324</c:v>
                </c:pt>
                <c:pt idx="58">
                  <c:v>10351</c:v>
                </c:pt>
                <c:pt idx="59">
                  <c:v>11285</c:v>
                </c:pt>
                <c:pt idx="60">
                  <c:v>11810</c:v>
                </c:pt>
                <c:pt idx="61">
                  <c:v>12144</c:v>
                </c:pt>
                <c:pt idx="62">
                  <c:v>12795</c:v>
                </c:pt>
                <c:pt idx="63">
                  <c:v>13386</c:v>
                </c:pt>
                <c:pt idx="64">
                  <c:v>14155</c:v>
                </c:pt>
                <c:pt idx="65">
                  <c:v>14985</c:v>
                </c:pt>
                <c:pt idx="66">
                  <c:v>15722</c:v>
                </c:pt>
                <c:pt idx="67">
                  <c:v>16057</c:v>
                </c:pt>
                <c:pt idx="68">
                  <c:v>16187</c:v>
                </c:pt>
                <c:pt idx="69">
                  <c:v>16600</c:v>
                </c:pt>
                <c:pt idx="70">
                  <c:v>17196</c:v>
                </c:pt>
                <c:pt idx="71">
                  <c:v>18147</c:v>
                </c:pt>
                <c:pt idx="72">
                  <c:v>18894</c:v>
                </c:pt>
                <c:pt idx="73">
                  <c:v>19588</c:v>
                </c:pt>
                <c:pt idx="74">
                  <c:v>19844</c:v>
                </c:pt>
                <c:pt idx="75">
                  <c:v>20045</c:v>
                </c:pt>
                <c:pt idx="76">
                  <c:v>20630</c:v>
                </c:pt>
                <c:pt idx="77">
                  <c:v>20820</c:v>
                </c:pt>
                <c:pt idx="78">
                  <c:v>21256</c:v>
                </c:pt>
                <c:pt idx="79">
                  <c:v>21662</c:v>
                </c:pt>
                <c:pt idx="80">
                  <c:v>22031</c:v>
                </c:pt>
                <c:pt idx="81">
                  <c:v>22167</c:v>
                </c:pt>
                <c:pt idx="82">
                  <c:v>22277</c:v>
                </c:pt>
                <c:pt idx="83">
                  <c:v>22809</c:v>
                </c:pt>
                <c:pt idx="84">
                  <c:v>23121</c:v>
                </c:pt>
                <c:pt idx="85">
                  <c:v>23347</c:v>
                </c:pt>
                <c:pt idx="86">
                  <c:v>23604</c:v>
                </c:pt>
                <c:pt idx="87">
                  <c:v>23826</c:v>
                </c:pt>
                <c:pt idx="88">
                  <c:v>23927</c:v>
                </c:pt>
                <c:pt idx="89">
                  <c:v>23973</c:v>
                </c:pt>
                <c:pt idx="90">
                  <c:v>24298</c:v>
                </c:pt>
                <c:pt idx="91">
                  <c:v>24513</c:v>
                </c:pt>
                <c:pt idx="92">
                  <c:v>24721</c:v>
                </c:pt>
                <c:pt idx="93">
                  <c:v>24914</c:v>
                </c:pt>
                <c:pt idx="94">
                  <c:v>25155</c:v>
                </c:pt>
                <c:pt idx="95">
                  <c:v>25286</c:v>
                </c:pt>
                <c:pt idx="96">
                  <c:v>25335</c:v>
                </c:pt>
                <c:pt idx="97">
                  <c:v>25599</c:v>
                </c:pt>
                <c:pt idx="98">
                  <c:v>25769</c:v>
                </c:pt>
                <c:pt idx="99">
                  <c:v>25975</c:v>
                </c:pt>
                <c:pt idx="100">
                  <c:v>26120</c:v>
                </c:pt>
                <c:pt idx="101">
                  <c:v>26433</c:v>
                </c:pt>
                <c:pt idx="102">
                  <c:v>26522</c:v>
                </c:pt>
                <c:pt idx="103">
                  <c:v>26589</c:v>
                </c:pt>
                <c:pt idx="104">
                  <c:v>26879</c:v>
                </c:pt>
                <c:pt idx="105">
                  <c:v>27085</c:v>
                </c:pt>
                <c:pt idx="106">
                  <c:v>27283</c:v>
                </c:pt>
                <c:pt idx="107">
                  <c:v>27405</c:v>
                </c:pt>
                <c:pt idx="108">
                  <c:v>27714</c:v>
                </c:pt>
                <c:pt idx="109">
                  <c:v>27807</c:v>
                </c:pt>
                <c:pt idx="110">
                  <c:v>27858</c:v>
                </c:pt>
                <c:pt idx="111">
                  <c:v>28204</c:v>
                </c:pt>
                <c:pt idx="112">
                  <c:v>28498</c:v>
                </c:pt>
                <c:pt idx="113">
                  <c:v>28744</c:v>
                </c:pt>
                <c:pt idx="114">
                  <c:v>28794</c:v>
                </c:pt>
                <c:pt idx="115">
                  <c:v>28917</c:v>
                </c:pt>
                <c:pt idx="116">
                  <c:v>29049</c:v>
                </c:pt>
                <c:pt idx="117">
                  <c:v>29196</c:v>
                </c:pt>
                <c:pt idx="118">
                  <c:v>29558</c:v>
                </c:pt>
                <c:pt idx="119">
                  <c:v>29892</c:v>
                </c:pt>
                <c:pt idx="120">
                  <c:v>30151</c:v>
                </c:pt>
                <c:pt idx="121">
                  <c:v>30378</c:v>
                </c:pt>
                <c:pt idx="122">
                  <c:v>30478</c:v>
                </c:pt>
                <c:pt idx="123">
                  <c:v>30604</c:v>
                </c:pt>
                <c:pt idx="124">
                  <c:v>30685</c:v>
                </c:pt>
                <c:pt idx="125">
                  <c:v>31244</c:v>
                </c:pt>
                <c:pt idx="126">
                  <c:v>31548</c:v>
                </c:pt>
                <c:pt idx="127">
                  <c:v>31832</c:v>
                </c:pt>
                <c:pt idx="128">
                  <c:v>32175</c:v>
                </c:pt>
                <c:pt idx="129">
                  <c:v>32496</c:v>
                </c:pt>
                <c:pt idx="130">
                  <c:v>32618</c:v>
                </c:pt>
                <c:pt idx="131">
                  <c:v>32678</c:v>
                </c:pt>
                <c:pt idx="132">
                  <c:v>33165</c:v>
                </c:pt>
                <c:pt idx="133">
                  <c:v>33392</c:v>
                </c:pt>
                <c:pt idx="134">
                  <c:v>33679</c:v>
                </c:pt>
                <c:pt idx="135">
                  <c:v>33834</c:v>
                </c:pt>
                <c:pt idx="136">
                  <c:v>33992</c:v>
                </c:pt>
                <c:pt idx="137">
                  <c:v>34063</c:v>
                </c:pt>
                <c:pt idx="138">
                  <c:v>34138</c:v>
                </c:pt>
                <c:pt idx="139">
                  <c:v>34434</c:v>
                </c:pt>
                <c:pt idx="140">
                  <c:v>34593</c:v>
                </c:pt>
                <c:pt idx="141">
                  <c:v>34813</c:v>
                </c:pt>
                <c:pt idx="142">
                  <c:v>34990</c:v>
                </c:pt>
                <c:pt idx="143">
                  <c:v>35191</c:v>
                </c:pt>
                <c:pt idx="144">
                  <c:v>35272</c:v>
                </c:pt>
                <c:pt idx="145">
                  <c:v>35312</c:v>
                </c:pt>
                <c:pt idx="146">
                  <c:v>35489</c:v>
                </c:pt>
                <c:pt idx="147">
                  <c:v>35611</c:v>
                </c:pt>
                <c:pt idx="148">
                  <c:v>35767</c:v>
                </c:pt>
                <c:pt idx="149">
                  <c:v>35868</c:v>
                </c:pt>
                <c:pt idx="150">
                  <c:v>35954</c:v>
                </c:pt>
                <c:pt idx="151">
                  <c:v>36034</c:v>
                </c:pt>
                <c:pt idx="152">
                  <c:v>36058</c:v>
                </c:pt>
                <c:pt idx="153">
                  <c:v>36249</c:v>
                </c:pt>
                <c:pt idx="154">
                  <c:v>36422</c:v>
                </c:pt>
                <c:pt idx="155">
                  <c:v>36584</c:v>
                </c:pt>
                <c:pt idx="156">
                  <c:v>36715</c:v>
                </c:pt>
                <c:pt idx="157">
                  <c:v>36849</c:v>
                </c:pt>
                <c:pt idx="158">
                  <c:v>36905</c:v>
                </c:pt>
                <c:pt idx="159">
                  <c:v>36939</c:v>
                </c:pt>
                <c:pt idx="160">
                  <c:v>37080</c:v>
                </c:pt>
                <c:pt idx="161">
                  <c:v>37168</c:v>
                </c:pt>
                <c:pt idx="162">
                  <c:v>37269</c:v>
                </c:pt>
                <c:pt idx="163">
                  <c:v>37380</c:v>
                </c:pt>
                <c:pt idx="164">
                  <c:v>37472</c:v>
                </c:pt>
                <c:pt idx="165">
                  <c:v>37495</c:v>
                </c:pt>
                <c:pt idx="166">
                  <c:v>37524</c:v>
                </c:pt>
                <c:pt idx="167">
                  <c:v>37626</c:v>
                </c:pt>
                <c:pt idx="168">
                  <c:v>37679</c:v>
                </c:pt>
                <c:pt idx="169">
                  <c:v>37745</c:v>
                </c:pt>
                <c:pt idx="170">
                  <c:v>37810</c:v>
                </c:pt>
                <c:pt idx="171">
                  <c:v>37878</c:v>
                </c:pt>
                <c:pt idx="172">
                  <c:v>37903</c:v>
                </c:pt>
                <c:pt idx="173">
                  <c:v>37932</c:v>
                </c:pt>
                <c:pt idx="174">
                  <c:v>38104</c:v>
                </c:pt>
                <c:pt idx="175">
                  <c:v>38188</c:v>
                </c:pt>
                <c:pt idx="176">
                  <c:v>38257</c:v>
                </c:pt>
                <c:pt idx="177">
                  <c:v>38337</c:v>
                </c:pt>
                <c:pt idx="178">
                  <c:v>38429</c:v>
                </c:pt>
                <c:pt idx="179">
                  <c:v>38450</c:v>
                </c:pt>
                <c:pt idx="180">
                  <c:v>38463</c:v>
                </c:pt>
                <c:pt idx="181">
                  <c:v>38603</c:v>
                </c:pt>
                <c:pt idx="182">
                  <c:v>38673</c:v>
                </c:pt>
                <c:pt idx="183">
                  <c:v>38776</c:v>
                </c:pt>
                <c:pt idx="184">
                  <c:v>38834</c:v>
                </c:pt>
                <c:pt idx="185">
                  <c:v>38893</c:v>
                </c:pt>
                <c:pt idx="186">
                  <c:v>38912</c:v>
                </c:pt>
                <c:pt idx="187">
                  <c:v>38930</c:v>
                </c:pt>
                <c:pt idx="188">
                  <c:v>39022</c:v>
                </c:pt>
                <c:pt idx="189">
                  <c:v>39162</c:v>
                </c:pt>
                <c:pt idx="190">
                  <c:v>39251</c:v>
                </c:pt>
                <c:pt idx="191">
                  <c:v>39294</c:v>
                </c:pt>
                <c:pt idx="192">
                  <c:v>39348</c:v>
                </c:pt>
                <c:pt idx="193">
                  <c:v>39369</c:v>
                </c:pt>
                <c:pt idx="194">
                  <c:v>39383</c:v>
                </c:pt>
                <c:pt idx="195">
                  <c:v>39453</c:v>
                </c:pt>
                <c:pt idx="196">
                  <c:v>39500</c:v>
                </c:pt>
                <c:pt idx="197">
                  <c:v>39539</c:v>
                </c:pt>
                <c:pt idx="198">
                  <c:v>39592</c:v>
                </c:pt>
                <c:pt idx="199">
                  <c:v>39633</c:v>
                </c:pt>
                <c:pt idx="200">
                  <c:v>39644</c:v>
                </c:pt>
                <c:pt idx="201">
                  <c:v>39653</c:v>
                </c:pt>
                <c:pt idx="202">
                  <c:v>39703</c:v>
                </c:pt>
                <c:pt idx="203">
                  <c:v>39753</c:v>
                </c:pt>
                <c:pt idx="204">
                  <c:v>39783</c:v>
                </c:pt>
                <c:pt idx="205">
                  <c:v>39824</c:v>
                </c:pt>
                <c:pt idx="206">
                  <c:v>39847</c:v>
                </c:pt>
                <c:pt idx="207">
                  <c:v>39853</c:v>
                </c:pt>
                <c:pt idx="208">
                  <c:v>39858</c:v>
                </c:pt>
                <c:pt idx="209">
                  <c:v>39905</c:v>
                </c:pt>
                <c:pt idx="210">
                  <c:v>39937</c:v>
                </c:pt>
                <c:pt idx="211">
                  <c:v>39962</c:v>
                </c:pt>
                <c:pt idx="212">
                  <c:v>39985</c:v>
                </c:pt>
                <c:pt idx="213">
                  <c:v>39994</c:v>
                </c:pt>
                <c:pt idx="214">
                  <c:v>40002</c:v>
                </c:pt>
                <c:pt idx="215">
                  <c:v>40006</c:v>
                </c:pt>
                <c:pt idx="216">
                  <c:v>40014</c:v>
                </c:pt>
                <c:pt idx="217">
                  <c:v>40041</c:v>
                </c:pt>
                <c:pt idx="218">
                  <c:v>40078</c:v>
                </c:pt>
                <c:pt idx="219">
                  <c:v>40096</c:v>
                </c:pt>
                <c:pt idx="220">
                  <c:v>40107</c:v>
                </c:pt>
                <c:pt idx="221">
                  <c:v>40114</c:v>
                </c:pt>
                <c:pt idx="222">
                  <c:v>40115</c:v>
                </c:pt>
                <c:pt idx="223">
                  <c:v>40125</c:v>
                </c:pt>
                <c:pt idx="224">
                  <c:v>40134</c:v>
                </c:pt>
                <c:pt idx="225">
                  <c:v>40141</c:v>
                </c:pt>
                <c:pt idx="226">
                  <c:v>40151</c:v>
                </c:pt>
                <c:pt idx="227">
                  <c:v>40159</c:v>
                </c:pt>
                <c:pt idx="228">
                  <c:v>40161</c:v>
                </c:pt>
                <c:pt idx="229">
                  <c:v>40164</c:v>
                </c:pt>
                <c:pt idx="230">
                  <c:v>40181</c:v>
                </c:pt>
                <c:pt idx="231">
                  <c:v>40193</c:v>
                </c:pt>
                <c:pt idx="232">
                  <c:v>40201</c:v>
                </c:pt>
                <c:pt idx="233">
                  <c:v>40216</c:v>
                </c:pt>
                <c:pt idx="234">
                  <c:v>40226</c:v>
                </c:pt>
                <c:pt idx="235">
                  <c:v>40228</c:v>
                </c:pt>
                <c:pt idx="236">
                  <c:v>40228</c:v>
                </c:pt>
                <c:pt idx="237">
                  <c:v>40238</c:v>
                </c:pt>
                <c:pt idx="238">
                  <c:v>40251</c:v>
                </c:pt>
                <c:pt idx="239">
                  <c:v>40256</c:v>
                </c:pt>
                <c:pt idx="240">
                  <c:v>40260</c:v>
                </c:pt>
                <c:pt idx="241">
                  <c:v>40266</c:v>
                </c:pt>
                <c:pt idx="242">
                  <c:v>40266</c:v>
                </c:pt>
                <c:pt idx="243">
                  <c:v>40267</c:v>
                </c:pt>
                <c:pt idx="244">
                  <c:v>40273</c:v>
                </c:pt>
                <c:pt idx="245">
                  <c:v>40275</c:v>
                </c:pt>
                <c:pt idx="246">
                  <c:v>40279</c:v>
                </c:pt>
                <c:pt idx="247">
                  <c:v>40284</c:v>
                </c:pt>
                <c:pt idx="248">
                  <c:v>40287</c:v>
                </c:pt>
                <c:pt idx="249">
                  <c:v>40288</c:v>
                </c:pt>
                <c:pt idx="250">
                  <c:v>40291</c:v>
                </c:pt>
                <c:pt idx="251">
                  <c:v>40299</c:v>
                </c:pt>
                <c:pt idx="252">
                  <c:v>40305</c:v>
                </c:pt>
                <c:pt idx="253">
                  <c:v>40305</c:v>
                </c:pt>
                <c:pt idx="254">
                  <c:v>40310</c:v>
                </c:pt>
                <c:pt idx="255">
                  <c:v>40316</c:v>
                </c:pt>
                <c:pt idx="256">
                  <c:v>40317</c:v>
                </c:pt>
                <c:pt idx="257">
                  <c:v>40317</c:v>
                </c:pt>
                <c:pt idx="258">
                  <c:v>40325</c:v>
                </c:pt>
                <c:pt idx="259">
                  <c:v>40330</c:v>
                </c:pt>
                <c:pt idx="260">
                  <c:v>40334</c:v>
                </c:pt>
                <c:pt idx="261">
                  <c:v>40337</c:v>
                </c:pt>
                <c:pt idx="262">
                  <c:v>40338</c:v>
                </c:pt>
                <c:pt idx="263">
                  <c:v>40338</c:v>
                </c:pt>
                <c:pt idx="264">
                  <c:v>40338</c:v>
                </c:pt>
                <c:pt idx="265">
                  <c:v>40342</c:v>
                </c:pt>
                <c:pt idx="266">
                  <c:v>40343</c:v>
                </c:pt>
                <c:pt idx="267">
                  <c:v>40344</c:v>
                </c:pt>
                <c:pt idx="268">
                  <c:v>40346</c:v>
                </c:pt>
                <c:pt idx="269">
                  <c:v>40346</c:v>
                </c:pt>
                <c:pt idx="270">
                  <c:v>40346</c:v>
                </c:pt>
                <c:pt idx="271">
                  <c:v>40346</c:v>
                </c:pt>
                <c:pt idx="272">
                  <c:v>40347</c:v>
                </c:pt>
                <c:pt idx="273">
                  <c:v>40347</c:v>
                </c:pt>
                <c:pt idx="274">
                  <c:v>40350</c:v>
                </c:pt>
                <c:pt idx="275">
                  <c:v>40353</c:v>
                </c:pt>
                <c:pt idx="276">
                  <c:v>40353</c:v>
                </c:pt>
                <c:pt idx="277">
                  <c:v>40353</c:v>
                </c:pt>
                <c:pt idx="278">
                  <c:v>40353</c:v>
                </c:pt>
                <c:pt idx="279">
                  <c:v>40354</c:v>
                </c:pt>
                <c:pt idx="280">
                  <c:v>40354</c:v>
                </c:pt>
                <c:pt idx="281">
                  <c:v>40354</c:v>
                </c:pt>
                <c:pt idx="282">
                  <c:v>40354</c:v>
                </c:pt>
                <c:pt idx="283">
                  <c:v>40355</c:v>
                </c:pt>
                <c:pt idx="284">
                  <c:v>40355</c:v>
                </c:pt>
                <c:pt idx="285">
                  <c:v>40355</c:v>
                </c:pt>
                <c:pt idx="286">
                  <c:v>40355</c:v>
                </c:pt>
                <c:pt idx="287">
                  <c:v>40355</c:v>
                </c:pt>
                <c:pt idx="288">
                  <c:v>40355</c:v>
                </c:pt>
                <c:pt idx="289">
                  <c:v>40356</c:v>
                </c:pt>
                <c:pt idx="290">
                  <c:v>40356</c:v>
                </c:pt>
                <c:pt idx="291">
                  <c:v>40356</c:v>
                </c:pt>
                <c:pt idx="292">
                  <c:v>40356</c:v>
                </c:pt>
                <c:pt idx="293">
                  <c:v>40356</c:v>
                </c:pt>
                <c:pt idx="294">
                  <c:v>40356</c:v>
                </c:pt>
                <c:pt idx="295">
                  <c:v>40357</c:v>
                </c:pt>
                <c:pt idx="296">
                  <c:v>40358</c:v>
                </c:pt>
                <c:pt idx="297">
                  <c:v>40358</c:v>
                </c:pt>
                <c:pt idx="298">
                  <c:v>40358</c:v>
                </c:pt>
                <c:pt idx="299">
                  <c:v>40358</c:v>
                </c:pt>
                <c:pt idx="300">
                  <c:v>40358</c:v>
                </c:pt>
                <c:pt idx="301">
                  <c:v>40358</c:v>
                </c:pt>
                <c:pt idx="302">
                  <c:v>40359</c:v>
                </c:pt>
                <c:pt idx="303">
                  <c:v>40360</c:v>
                </c:pt>
                <c:pt idx="304">
                  <c:v>40360</c:v>
                </c:pt>
                <c:pt idx="305">
                  <c:v>40360</c:v>
                </c:pt>
                <c:pt idx="306">
                  <c:v>40361</c:v>
                </c:pt>
                <c:pt idx="307">
                  <c:v>40361</c:v>
                </c:pt>
                <c:pt idx="308">
                  <c:v>40361</c:v>
                </c:pt>
                <c:pt idx="309">
                  <c:v>40362</c:v>
                </c:pt>
                <c:pt idx="310">
                  <c:v>40364</c:v>
                </c:pt>
                <c:pt idx="311">
                  <c:v>40364</c:v>
                </c:pt>
                <c:pt idx="312">
                  <c:v>40364</c:v>
                </c:pt>
                <c:pt idx="313">
                  <c:v>40365</c:v>
                </c:pt>
                <c:pt idx="314">
                  <c:v>40365</c:v>
                </c:pt>
                <c:pt idx="315">
                  <c:v>40365</c:v>
                </c:pt>
                <c:pt idx="316">
                  <c:v>40365</c:v>
                </c:pt>
                <c:pt idx="317">
                  <c:v>40365</c:v>
                </c:pt>
                <c:pt idx="318">
                  <c:v>40365</c:v>
                </c:pt>
                <c:pt idx="319">
                  <c:v>40365</c:v>
                </c:pt>
                <c:pt idx="320">
                  <c:v>40365</c:v>
                </c:pt>
                <c:pt idx="321">
                  <c:v>40365</c:v>
                </c:pt>
                <c:pt idx="322">
                  <c:v>40365</c:v>
                </c:pt>
                <c:pt idx="323">
                  <c:v>40366</c:v>
                </c:pt>
                <c:pt idx="324">
                  <c:v>40366</c:v>
                </c:pt>
                <c:pt idx="325">
                  <c:v>40366</c:v>
                </c:pt>
                <c:pt idx="326">
                  <c:v>40367</c:v>
                </c:pt>
                <c:pt idx="327">
                  <c:v>40367</c:v>
                </c:pt>
                <c:pt idx="328">
                  <c:v>40367</c:v>
                </c:pt>
                <c:pt idx="329">
                  <c:v>40368</c:v>
                </c:pt>
                <c:pt idx="330">
                  <c:v>40370</c:v>
                </c:pt>
                <c:pt idx="331">
                  <c:v>40370</c:v>
                </c:pt>
                <c:pt idx="332">
                  <c:v>40370</c:v>
                </c:pt>
                <c:pt idx="333">
                  <c:v>40370</c:v>
                </c:pt>
                <c:pt idx="334">
                  <c:v>40370</c:v>
                </c:pt>
                <c:pt idx="335">
                  <c:v>40370</c:v>
                </c:pt>
                <c:pt idx="336">
                  <c:v>40370</c:v>
                </c:pt>
                <c:pt idx="337">
                  <c:v>40370</c:v>
                </c:pt>
                <c:pt idx="338">
                  <c:v>40370</c:v>
                </c:pt>
                <c:pt idx="339">
                  <c:v>40370</c:v>
                </c:pt>
                <c:pt idx="340">
                  <c:v>40370</c:v>
                </c:pt>
                <c:pt idx="341">
                  <c:v>40371</c:v>
                </c:pt>
                <c:pt idx="342">
                  <c:v>40371</c:v>
                </c:pt>
                <c:pt idx="343">
                  <c:v>40371</c:v>
                </c:pt>
                <c:pt idx="344">
                  <c:v>40372</c:v>
                </c:pt>
                <c:pt idx="345">
                  <c:v>40372</c:v>
                </c:pt>
                <c:pt idx="346">
                  <c:v>40372</c:v>
                </c:pt>
                <c:pt idx="347">
                  <c:v>40372</c:v>
                </c:pt>
                <c:pt idx="348">
                  <c:v>40372</c:v>
                </c:pt>
                <c:pt idx="349">
                  <c:v>40373</c:v>
                </c:pt>
                <c:pt idx="350">
                  <c:v>40374</c:v>
                </c:pt>
                <c:pt idx="351">
                  <c:v>40374</c:v>
                </c:pt>
                <c:pt idx="352">
                  <c:v>40375</c:v>
                </c:pt>
                <c:pt idx="353">
                  <c:v>40375</c:v>
                </c:pt>
                <c:pt idx="354">
                  <c:v>40375</c:v>
                </c:pt>
                <c:pt idx="355">
                  <c:v>40375</c:v>
                </c:pt>
                <c:pt idx="356">
                  <c:v>40378</c:v>
                </c:pt>
                <c:pt idx="357">
                  <c:v>40378</c:v>
                </c:pt>
                <c:pt idx="358">
                  <c:v>40378</c:v>
                </c:pt>
                <c:pt idx="359">
                  <c:v>40379</c:v>
                </c:pt>
                <c:pt idx="360">
                  <c:v>40380</c:v>
                </c:pt>
                <c:pt idx="361">
                  <c:v>40381</c:v>
                </c:pt>
                <c:pt idx="362">
                  <c:v>40381</c:v>
                </c:pt>
                <c:pt idx="363">
                  <c:v>40381</c:v>
                </c:pt>
                <c:pt idx="364">
                  <c:v>40381</c:v>
                </c:pt>
                <c:pt idx="365">
                  <c:v>40387</c:v>
                </c:pt>
                <c:pt idx="366">
                  <c:v>40392</c:v>
                </c:pt>
                <c:pt idx="367">
                  <c:v>40395</c:v>
                </c:pt>
                <c:pt idx="368">
                  <c:v>40396</c:v>
                </c:pt>
                <c:pt idx="369">
                  <c:v>40396</c:v>
                </c:pt>
                <c:pt idx="370">
                  <c:v>40401</c:v>
                </c:pt>
                <c:pt idx="371">
                  <c:v>40403</c:v>
                </c:pt>
                <c:pt idx="372">
                  <c:v>40404</c:v>
                </c:pt>
                <c:pt idx="373">
                  <c:v>40406</c:v>
                </c:pt>
                <c:pt idx="374">
                  <c:v>40407</c:v>
                </c:pt>
                <c:pt idx="375">
                  <c:v>40407</c:v>
                </c:pt>
                <c:pt idx="376">
                  <c:v>40408</c:v>
                </c:pt>
                <c:pt idx="377">
                  <c:v>40409</c:v>
                </c:pt>
                <c:pt idx="378">
                  <c:v>40410</c:v>
                </c:pt>
                <c:pt idx="379">
                  <c:v>40410</c:v>
                </c:pt>
                <c:pt idx="380">
                  <c:v>40410</c:v>
                </c:pt>
                <c:pt idx="381">
                  <c:v>40410</c:v>
                </c:pt>
                <c:pt idx="382">
                  <c:v>40411</c:v>
                </c:pt>
                <c:pt idx="383">
                  <c:v>40411</c:v>
                </c:pt>
                <c:pt idx="384">
                  <c:v>40416</c:v>
                </c:pt>
                <c:pt idx="385">
                  <c:v>40424</c:v>
                </c:pt>
                <c:pt idx="386">
                  <c:v>40427</c:v>
                </c:pt>
                <c:pt idx="387">
                  <c:v>40427</c:v>
                </c:pt>
                <c:pt idx="388">
                  <c:v>40427</c:v>
                </c:pt>
                <c:pt idx="389">
                  <c:v>40428</c:v>
                </c:pt>
                <c:pt idx="390">
                  <c:v>40429</c:v>
                </c:pt>
                <c:pt idx="391">
                  <c:v>40436</c:v>
                </c:pt>
                <c:pt idx="392">
                  <c:v>40438</c:v>
                </c:pt>
                <c:pt idx="393">
                  <c:v>40446</c:v>
                </c:pt>
                <c:pt idx="394">
                  <c:v>40449</c:v>
                </c:pt>
                <c:pt idx="395">
                  <c:v>40452</c:v>
                </c:pt>
                <c:pt idx="396">
                  <c:v>40453</c:v>
                </c:pt>
                <c:pt idx="397">
                  <c:v>40454</c:v>
                </c:pt>
                <c:pt idx="398">
                  <c:v>40460</c:v>
                </c:pt>
                <c:pt idx="399">
                  <c:v>40467</c:v>
                </c:pt>
                <c:pt idx="400">
                  <c:v>40480</c:v>
                </c:pt>
                <c:pt idx="401">
                  <c:v>40483</c:v>
                </c:pt>
                <c:pt idx="402">
                  <c:v>40510</c:v>
                </c:pt>
                <c:pt idx="403">
                  <c:v>40512</c:v>
                </c:pt>
                <c:pt idx="404">
                  <c:v>40512</c:v>
                </c:pt>
                <c:pt idx="405">
                  <c:v>40515</c:v>
                </c:pt>
                <c:pt idx="406">
                  <c:v>40519</c:v>
                </c:pt>
                <c:pt idx="407">
                  <c:v>40540</c:v>
                </c:pt>
                <c:pt idx="408">
                  <c:v>40546</c:v>
                </c:pt>
                <c:pt idx="409">
                  <c:v>40555</c:v>
                </c:pt>
                <c:pt idx="410">
                  <c:v>40557</c:v>
                </c:pt>
                <c:pt idx="411">
                  <c:v>40558</c:v>
                </c:pt>
                <c:pt idx="412">
                  <c:v>40576</c:v>
                </c:pt>
                <c:pt idx="413">
                  <c:v>40589</c:v>
                </c:pt>
                <c:pt idx="414">
                  <c:v>40604</c:v>
                </c:pt>
                <c:pt idx="415">
                  <c:v>40613</c:v>
                </c:pt>
                <c:pt idx="416">
                  <c:v>40629</c:v>
                </c:pt>
                <c:pt idx="417">
                  <c:v>40630</c:v>
                </c:pt>
                <c:pt idx="418">
                  <c:v>40635</c:v>
                </c:pt>
                <c:pt idx="419">
                  <c:v>40669</c:v>
                </c:pt>
                <c:pt idx="420">
                  <c:v>40684</c:v>
                </c:pt>
                <c:pt idx="421">
                  <c:v>40713</c:v>
                </c:pt>
                <c:pt idx="422">
                  <c:v>40716</c:v>
                </c:pt>
                <c:pt idx="423">
                  <c:v>40742</c:v>
                </c:pt>
                <c:pt idx="424">
                  <c:v>40754</c:v>
                </c:pt>
                <c:pt idx="425">
                  <c:v>40769</c:v>
                </c:pt>
                <c:pt idx="426">
                  <c:v>40845</c:v>
                </c:pt>
                <c:pt idx="427">
                  <c:v>40886</c:v>
                </c:pt>
                <c:pt idx="428">
                  <c:v>40923</c:v>
                </c:pt>
                <c:pt idx="429">
                  <c:v>41001</c:v>
                </c:pt>
                <c:pt idx="430">
                  <c:v>41051</c:v>
                </c:pt>
                <c:pt idx="431">
                  <c:v>41070</c:v>
                </c:pt>
                <c:pt idx="432">
                  <c:v>41080</c:v>
                </c:pt>
                <c:pt idx="433">
                  <c:v>41162</c:v>
                </c:pt>
                <c:pt idx="434">
                  <c:v>41219</c:v>
                </c:pt>
                <c:pt idx="435">
                  <c:v>41266</c:v>
                </c:pt>
                <c:pt idx="436">
                  <c:v>41322</c:v>
                </c:pt>
                <c:pt idx="437">
                  <c:v>41373</c:v>
                </c:pt>
                <c:pt idx="438">
                  <c:v>41406</c:v>
                </c:pt>
                <c:pt idx="439">
                  <c:v>41434</c:v>
                </c:pt>
                <c:pt idx="440">
                  <c:v>41535</c:v>
                </c:pt>
                <c:pt idx="441">
                  <c:v>41601</c:v>
                </c:pt>
                <c:pt idx="442">
                  <c:v>41640</c:v>
                </c:pt>
                <c:pt idx="443">
                  <c:v>41738</c:v>
                </c:pt>
                <c:pt idx="444">
                  <c:v>41875</c:v>
                </c:pt>
                <c:pt idx="445">
                  <c:v>41914</c:v>
                </c:pt>
                <c:pt idx="446">
                  <c:v>41930</c:v>
                </c:pt>
                <c:pt idx="447">
                  <c:v>42054</c:v>
                </c:pt>
                <c:pt idx="448">
                  <c:v>42121</c:v>
                </c:pt>
                <c:pt idx="449">
                  <c:v>42212</c:v>
                </c:pt>
                <c:pt idx="450">
                  <c:v>42290</c:v>
                </c:pt>
                <c:pt idx="451">
                  <c:v>42393</c:v>
                </c:pt>
                <c:pt idx="452">
                  <c:v>42420</c:v>
                </c:pt>
                <c:pt idx="453">
                  <c:v>42434</c:v>
                </c:pt>
                <c:pt idx="454">
                  <c:v>42523</c:v>
                </c:pt>
                <c:pt idx="455">
                  <c:v>42585</c:v>
                </c:pt>
                <c:pt idx="456">
                  <c:v>42658</c:v>
                </c:pt>
                <c:pt idx="457">
                  <c:v>42722</c:v>
                </c:pt>
                <c:pt idx="458">
                  <c:v>42765</c:v>
                </c:pt>
                <c:pt idx="459">
                  <c:v>42824</c:v>
                </c:pt>
                <c:pt idx="460">
                  <c:v>42841</c:v>
                </c:pt>
                <c:pt idx="461">
                  <c:v>42921</c:v>
                </c:pt>
                <c:pt idx="462">
                  <c:v>42979</c:v>
                </c:pt>
                <c:pt idx="463">
                  <c:v>43032</c:v>
                </c:pt>
                <c:pt idx="464">
                  <c:v>43089</c:v>
                </c:pt>
                <c:pt idx="465">
                  <c:v>43138</c:v>
                </c:pt>
                <c:pt idx="466">
                  <c:v>43157</c:v>
                </c:pt>
                <c:pt idx="467">
                  <c:v>43166</c:v>
                </c:pt>
                <c:pt idx="468">
                  <c:v>43214</c:v>
                </c:pt>
                <c:pt idx="469">
                  <c:v>43277</c:v>
                </c:pt>
                <c:pt idx="470">
                  <c:v>43321</c:v>
                </c:pt>
                <c:pt idx="471">
                  <c:v>43346</c:v>
                </c:pt>
                <c:pt idx="472">
                  <c:v>43373</c:v>
                </c:pt>
                <c:pt idx="473">
                  <c:v>43383</c:v>
                </c:pt>
                <c:pt idx="474">
                  <c:v>43396</c:v>
                </c:pt>
                <c:pt idx="475">
                  <c:v>43439</c:v>
                </c:pt>
                <c:pt idx="476">
                  <c:v>43460</c:v>
                </c:pt>
                <c:pt idx="477">
                  <c:v>43472</c:v>
                </c:pt>
                <c:pt idx="478">
                  <c:v>43481</c:v>
                </c:pt>
                <c:pt idx="479">
                  <c:v>43488</c:v>
                </c:pt>
                <c:pt idx="480">
                  <c:v>43496</c:v>
                </c:pt>
                <c:pt idx="481">
                  <c:v>43501</c:v>
                </c:pt>
                <c:pt idx="482">
                  <c:v>43521</c:v>
                </c:pt>
                <c:pt idx="483">
                  <c:v>43544</c:v>
                </c:pt>
                <c:pt idx="484">
                  <c:v>43559</c:v>
                </c:pt>
                <c:pt idx="485">
                  <c:v>43571</c:v>
                </c:pt>
                <c:pt idx="486">
                  <c:v>43587</c:v>
                </c:pt>
                <c:pt idx="487">
                  <c:v>43589</c:v>
                </c:pt>
                <c:pt idx="488">
                  <c:v>43593</c:v>
                </c:pt>
                <c:pt idx="489">
                  <c:v>43617</c:v>
                </c:pt>
                <c:pt idx="490">
                  <c:v>43636</c:v>
                </c:pt>
                <c:pt idx="491">
                  <c:v>43648</c:v>
                </c:pt>
                <c:pt idx="492">
                  <c:v>43664</c:v>
                </c:pt>
                <c:pt idx="493">
                  <c:v>43681</c:v>
                </c:pt>
                <c:pt idx="494">
                  <c:v>43685</c:v>
                </c:pt>
                <c:pt idx="495">
                  <c:v>43690</c:v>
                </c:pt>
                <c:pt idx="496">
                  <c:v>43709</c:v>
                </c:pt>
                <c:pt idx="497">
                  <c:v>43728</c:v>
                </c:pt>
                <c:pt idx="498">
                  <c:v>43741</c:v>
                </c:pt>
                <c:pt idx="499">
                  <c:v>43757</c:v>
                </c:pt>
                <c:pt idx="500">
                  <c:v>43777</c:v>
                </c:pt>
                <c:pt idx="501">
                  <c:v>43784</c:v>
                </c:pt>
                <c:pt idx="502">
                  <c:v>43799</c:v>
                </c:pt>
                <c:pt idx="503">
                  <c:v>43866</c:v>
                </c:pt>
                <c:pt idx="504">
                  <c:v>43913</c:v>
                </c:pt>
                <c:pt idx="505">
                  <c:v>43965</c:v>
                </c:pt>
                <c:pt idx="506">
                  <c:v>44032</c:v>
                </c:pt>
                <c:pt idx="507">
                  <c:v>44115</c:v>
                </c:pt>
                <c:pt idx="508">
                  <c:v>44167</c:v>
                </c:pt>
                <c:pt idx="509">
                  <c:v>44188</c:v>
                </c:pt>
                <c:pt idx="510">
                  <c:v>44325</c:v>
                </c:pt>
                <c:pt idx="511">
                  <c:v>44470</c:v>
                </c:pt>
                <c:pt idx="512">
                  <c:v>44605</c:v>
                </c:pt>
                <c:pt idx="513">
                  <c:v>44688</c:v>
                </c:pt>
                <c:pt idx="514">
                  <c:v>44810</c:v>
                </c:pt>
                <c:pt idx="515">
                  <c:v>44844</c:v>
                </c:pt>
                <c:pt idx="516">
                  <c:v>44881</c:v>
                </c:pt>
                <c:pt idx="517">
                  <c:v>45040</c:v>
                </c:pt>
                <c:pt idx="518">
                  <c:v>45205</c:v>
                </c:pt>
                <c:pt idx="519">
                  <c:v>45317</c:v>
                </c:pt>
                <c:pt idx="520">
                  <c:v>45406</c:v>
                </c:pt>
                <c:pt idx="521">
                  <c:v>45547</c:v>
                </c:pt>
                <c:pt idx="522">
                  <c:v>45599</c:v>
                </c:pt>
                <c:pt idx="523">
                  <c:v>45634</c:v>
                </c:pt>
                <c:pt idx="524">
                  <c:v>45851</c:v>
                </c:pt>
                <c:pt idx="525">
                  <c:v>45983</c:v>
                </c:pt>
                <c:pt idx="526">
                  <c:v>46075</c:v>
                </c:pt>
                <c:pt idx="527">
                  <c:v>46188</c:v>
                </c:pt>
                <c:pt idx="528">
                  <c:v>46319</c:v>
                </c:pt>
                <c:pt idx="529">
                  <c:v>46374</c:v>
                </c:pt>
                <c:pt idx="530">
                  <c:v>46405</c:v>
                </c:pt>
                <c:pt idx="531">
                  <c:v>46532</c:v>
                </c:pt>
                <c:pt idx="532">
                  <c:v>46694</c:v>
                </c:pt>
                <c:pt idx="533">
                  <c:v>46830</c:v>
                </c:pt>
                <c:pt idx="534">
                  <c:v>46988</c:v>
                </c:pt>
                <c:pt idx="535">
                  <c:v>47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37</c:f>
              <c:numCache>
                <c:formatCode>m/d/yyyy</c:formatCode>
                <c:ptCount val="5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</c:numCache>
            </c:numRef>
          </c:cat>
          <c:val>
            <c:numRef>
              <c:f>List1!$B$2:$B$537</c:f>
              <c:numCache>
                <c:formatCode>General</c:formatCode>
                <c:ptCount val="536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1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2</c:v>
                </c:pt>
                <c:pt idx="32">
                  <c:v>157</c:v>
                </c:pt>
                <c:pt idx="33">
                  <c:v>209</c:v>
                </c:pt>
                <c:pt idx="34">
                  <c:v>366</c:v>
                </c:pt>
                <c:pt idx="35">
                  <c:v>437</c:v>
                </c:pt>
                <c:pt idx="36">
                  <c:v>475</c:v>
                </c:pt>
                <c:pt idx="37">
                  <c:v>544</c:v>
                </c:pt>
                <c:pt idx="38">
                  <c:v>676</c:v>
                </c:pt>
                <c:pt idx="39">
                  <c:v>696</c:v>
                </c:pt>
                <c:pt idx="40">
                  <c:v>665</c:v>
                </c:pt>
                <c:pt idx="41">
                  <c:v>776</c:v>
                </c:pt>
                <c:pt idx="42">
                  <c:v>949</c:v>
                </c:pt>
                <c:pt idx="43">
                  <c:v>1079</c:v>
                </c:pt>
                <c:pt idx="44">
                  <c:v>1254</c:v>
                </c:pt>
                <c:pt idx="45">
                  <c:v>1379</c:v>
                </c:pt>
                <c:pt idx="46">
                  <c:v>1456</c:v>
                </c:pt>
                <c:pt idx="47">
                  <c:v>1409</c:v>
                </c:pt>
                <c:pt idx="48">
                  <c:v>1580</c:v>
                </c:pt>
                <c:pt idx="49">
                  <c:v>1692</c:v>
                </c:pt>
                <c:pt idx="50">
                  <c:v>1971</c:v>
                </c:pt>
                <c:pt idx="51">
                  <c:v>2134</c:v>
                </c:pt>
                <c:pt idx="52">
                  <c:v>2427</c:v>
                </c:pt>
                <c:pt idx="53">
                  <c:v>2507</c:v>
                </c:pt>
                <c:pt idx="54">
                  <c:v>2553</c:v>
                </c:pt>
                <c:pt idx="55">
                  <c:v>2734</c:v>
                </c:pt>
                <c:pt idx="56">
                  <c:v>3078</c:v>
                </c:pt>
                <c:pt idx="57">
                  <c:v>3104</c:v>
                </c:pt>
                <c:pt idx="58">
                  <c:v>3550</c:v>
                </c:pt>
                <c:pt idx="59">
                  <c:v>3847</c:v>
                </c:pt>
                <c:pt idx="60">
                  <c:v>3934</c:v>
                </c:pt>
                <c:pt idx="61">
                  <c:v>3829</c:v>
                </c:pt>
                <c:pt idx="62">
                  <c:v>3896</c:v>
                </c:pt>
                <c:pt idx="63">
                  <c:v>3835</c:v>
                </c:pt>
                <c:pt idx="64">
                  <c:v>4046</c:v>
                </c:pt>
                <c:pt idx="65">
                  <c:v>4381</c:v>
                </c:pt>
                <c:pt idx="66">
                  <c:v>4241</c:v>
                </c:pt>
                <c:pt idx="67">
                  <c:v>3891</c:v>
                </c:pt>
                <c:pt idx="68">
                  <c:v>3810</c:v>
                </c:pt>
                <c:pt idx="69">
                  <c:v>3566</c:v>
                </c:pt>
                <c:pt idx="70">
                  <c:v>3445</c:v>
                </c:pt>
                <c:pt idx="71">
                  <c:v>3865</c:v>
                </c:pt>
                <c:pt idx="72">
                  <c:v>4247</c:v>
                </c:pt>
                <c:pt idx="73">
                  <c:v>4295</c:v>
                </c:pt>
                <c:pt idx="74">
                  <c:v>3953</c:v>
                </c:pt>
                <c:pt idx="75">
                  <c:v>3843</c:v>
                </c:pt>
                <c:pt idx="76">
                  <c:v>3859</c:v>
                </c:pt>
                <c:pt idx="77">
                  <c:v>3643</c:v>
                </c:pt>
                <c:pt idx="78">
                  <c:v>3833</c:v>
                </c:pt>
                <c:pt idx="79">
                  <c:v>3983</c:v>
                </c:pt>
                <c:pt idx="80">
                  <c:v>4041</c:v>
                </c:pt>
                <c:pt idx="81">
                  <c:v>3660</c:v>
                </c:pt>
                <c:pt idx="82">
                  <c:v>3385</c:v>
                </c:pt>
                <c:pt idx="83">
                  <c:v>3515</c:v>
                </c:pt>
                <c:pt idx="84">
                  <c:v>3226</c:v>
                </c:pt>
                <c:pt idx="85">
                  <c:v>3223</c:v>
                </c:pt>
                <c:pt idx="86">
                  <c:v>3315</c:v>
                </c:pt>
                <c:pt idx="87">
                  <c:v>3076</c:v>
                </c:pt>
                <c:pt idx="88">
                  <c:v>3044</c:v>
                </c:pt>
                <c:pt idx="89">
                  <c:v>2788</c:v>
                </c:pt>
                <c:pt idx="90">
                  <c:v>2689</c:v>
                </c:pt>
                <c:pt idx="91">
                  <c:v>2504</c:v>
                </c:pt>
                <c:pt idx="92">
                  <c:v>2536</c:v>
                </c:pt>
                <c:pt idx="93">
                  <c:v>2593</c:v>
                </c:pt>
                <c:pt idx="94">
                  <c:v>2487</c:v>
                </c:pt>
                <c:pt idx="95">
                  <c:v>2316</c:v>
                </c:pt>
                <c:pt idx="96">
                  <c:v>2164</c:v>
                </c:pt>
                <c:pt idx="97">
                  <c:v>2117</c:v>
                </c:pt>
                <c:pt idx="98">
                  <c:v>1973</c:v>
                </c:pt>
                <c:pt idx="99">
                  <c:v>2027</c:v>
                </c:pt>
                <c:pt idx="100">
                  <c:v>2078</c:v>
                </c:pt>
                <c:pt idx="101">
                  <c:v>2068</c:v>
                </c:pt>
                <c:pt idx="102">
                  <c:v>1974</c:v>
                </c:pt>
                <c:pt idx="103">
                  <c:v>1927</c:v>
                </c:pt>
                <c:pt idx="104">
                  <c:v>1937</c:v>
                </c:pt>
                <c:pt idx="105">
                  <c:v>1919</c:v>
                </c:pt>
                <c:pt idx="106">
                  <c:v>1920</c:v>
                </c:pt>
                <c:pt idx="107">
                  <c:v>1924</c:v>
                </c:pt>
                <c:pt idx="108">
                  <c:v>1975</c:v>
                </c:pt>
                <c:pt idx="109">
                  <c:v>1846</c:v>
                </c:pt>
                <c:pt idx="110">
                  <c:v>1781</c:v>
                </c:pt>
                <c:pt idx="111">
                  <c:v>1831</c:v>
                </c:pt>
                <c:pt idx="112">
                  <c:v>1843</c:v>
                </c:pt>
                <c:pt idx="113">
                  <c:v>1866</c:v>
                </c:pt>
                <c:pt idx="114">
                  <c:v>1832</c:v>
                </c:pt>
                <c:pt idx="115">
                  <c:v>1730</c:v>
                </c:pt>
                <c:pt idx="116">
                  <c:v>1705</c:v>
                </c:pt>
                <c:pt idx="117">
                  <c:v>1704</c:v>
                </c:pt>
                <c:pt idx="118">
                  <c:v>1750</c:v>
                </c:pt>
                <c:pt idx="119">
                  <c:v>1798</c:v>
                </c:pt>
                <c:pt idx="120">
                  <c:v>1898</c:v>
                </c:pt>
                <c:pt idx="121">
                  <c:v>1983</c:v>
                </c:pt>
                <c:pt idx="122">
                  <c:v>1850</c:v>
                </c:pt>
                <c:pt idx="123">
                  <c:v>1817</c:v>
                </c:pt>
                <c:pt idx="124">
                  <c:v>1651</c:v>
                </c:pt>
                <c:pt idx="125">
                  <c:v>1883</c:v>
                </c:pt>
                <c:pt idx="126">
                  <c:v>1974</c:v>
                </c:pt>
                <c:pt idx="127">
                  <c:v>2064</c:v>
                </c:pt>
                <c:pt idx="128">
                  <c:v>2208</c:v>
                </c:pt>
                <c:pt idx="129">
                  <c:v>2211</c:v>
                </c:pt>
                <c:pt idx="130">
                  <c:v>2079</c:v>
                </c:pt>
                <c:pt idx="131">
                  <c:v>1932</c:v>
                </c:pt>
                <c:pt idx="132">
                  <c:v>2078</c:v>
                </c:pt>
                <c:pt idx="133">
                  <c:v>2140</c:v>
                </c:pt>
                <c:pt idx="134">
                  <c:v>2243</c:v>
                </c:pt>
                <c:pt idx="135">
                  <c:v>2290</c:v>
                </c:pt>
                <c:pt idx="136">
                  <c:v>2207</c:v>
                </c:pt>
                <c:pt idx="137">
                  <c:v>2012</c:v>
                </c:pt>
                <c:pt idx="138">
                  <c:v>1857</c:v>
                </c:pt>
                <c:pt idx="139">
                  <c:v>1801</c:v>
                </c:pt>
                <c:pt idx="140">
                  <c:v>1688</c:v>
                </c:pt>
                <c:pt idx="141">
                  <c:v>1772</c:v>
                </c:pt>
                <c:pt idx="142">
                  <c:v>1844</c:v>
                </c:pt>
                <c:pt idx="143">
                  <c:v>1716</c:v>
                </c:pt>
                <c:pt idx="144">
                  <c:v>1646</c:v>
                </c:pt>
                <c:pt idx="145">
                  <c:v>1547</c:v>
                </c:pt>
                <c:pt idx="146">
                  <c:v>1508</c:v>
                </c:pt>
                <c:pt idx="147">
                  <c:v>1454</c:v>
                </c:pt>
                <c:pt idx="148">
                  <c:v>1505</c:v>
                </c:pt>
                <c:pt idx="149">
                  <c:v>1541</c:v>
                </c:pt>
                <c:pt idx="150">
                  <c:v>1399</c:v>
                </c:pt>
                <c:pt idx="151">
                  <c:v>1357</c:v>
                </c:pt>
                <c:pt idx="152">
                  <c:v>1221</c:v>
                </c:pt>
                <c:pt idx="153">
                  <c:v>1250</c:v>
                </c:pt>
                <c:pt idx="154">
                  <c:v>1273</c:v>
                </c:pt>
                <c:pt idx="155">
                  <c:v>1329</c:v>
                </c:pt>
                <c:pt idx="156">
                  <c:v>1358</c:v>
                </c:pt>
                <c:pt idx="157">
                  <c:v>1329</c:v>
                </c:pt>
                <c:pt idx="158">
                  <c:v>1269</c:v>
                </c:pt>
                <c:pt idx="159">
                  <c:v>1213</c:v>
                </c:pt>
                <c:pt idx="160">
                  <c:v>1229</c:v>
                </c:pt>
                <c:pt idx="161">
                  <c:v>1222</c:v>
                </c:pt>
                <c:pt idx="162">
                  <c:v>1261</c:v>
                </c:pt>
                <c:pt idx="163">
                  <c:v>1311</c:v>
                </c:pt>
                <c:pt idx="164">
                  <c:v>1272</c:v>
                </c:pt>
                <c:pt idx="165">
                  <c:v>1151</c:v>
                </c:pt>
                <c:pt idx="166">
                  <c:v>1061</c:v>
                </c:pt>
                <c:pt idx="167">
                  <c:v>1039</c:v>
                </c:pt>
                <c:pt idx="168">
                  <c:v>956</c:v>
                </c:pt>
                <c:pt idx="169">
                  <c:v>934</c:v>
                </c:pt>
                <c:pt idx="170">
                  <c:v>951</c:v>
                </c:pt>
                <c:pt idx="171">
                  <c:v>890</c:v>
                </c:pt>
                <c:pt idx="172">
                  <c:v>828</c:v>
                </c:pt>
                <c:pt idx="173">
                  <c:v>758</c:v>
                </c:pt>
                <c:pt idx="174">
                  <c:v>803</c:v>
                </c:pt>
                <c:pt idx="175">
                  <c:v>776</c:v>
                </c:pt>
                <c:pt idx="176">
                  <c:v>786</c:v>
                </c:pt>
                <c:pt idx="177">
                  <c:v>816</c:v>
                </c:pt>
                <c:pt idx="178">
                  <c:v>804</c:v>
                </c:pt>
                <c:pt idx="179">
                  <c:v>771</c:v>
                </c:pt>
                <c:pt idx="180">
                  <c:v>751</c:v>
                </c:pt>
                <c:pt idx="181">
                  <c:v>799</c:v>
                </c:pt>
                <c:pt idx="182">
                  <c:v>765</c:v>
                </c:pt>
                <c:pt idx="183">
                  <c:v>772</c:v>
                </c:pt>
                <c:pt idx="184">
                  <c:v>766</c:v>
                </c:pt>
                <c:pt idx="185">
                  <c:v>699</c:v>
                </c:pt>
                <c:pt idx="186">
                  <c:v>670</c:v>
                </c:pt>
                <c:pt idx="187">
                  <c:v>627</c:v>
                </c:pt>
                <c:pt idx="188">
                  <c:v>620</c:v>
                </c:pt>
                <c:pt idx="189">
                  <c:v>666</c:v>
                </c:pt>
                <c:pt idx="190">
                  <c:v>710</c:v>
                </c:pt>
                <c:pt idx="191">
                  <c:v>710</c:v>
                </c:pt>
                <c:pt idx="192">
                  <c:v>739</c:v>
                </c:pt>
                <c:pt idx="193">
                  <c:v>736</c:v>
                </c:pt>
                <c:pt idx="194">
                  <c:v>737</c:v>
                </c:pt>
                <c:pt idx="195">
                  <c:v>761</c:v>
                </c:pt>
                <c:pt idx="196">
                  <c:v>698</c:v>
                </c:pt>
                <c:pt idx="197">
                  <c:v>681</c:v>
                </c:pt>
                <c:pt idx="198">
                  <c:v>666</c:v>
                </c:pt>
                <c:pt idx="199">
                  <c:v>666</c:v>
                </c:pt>
                <c:pt idx="200">
                  <c:v>646</c:v>
                </c:pt>
                <c:pt idx="201">
                  <c:v>645</c:v>
                </c:pt>
                <c:pt idx="202">
                  <c:v>651</c:v>
                </c:pt>
                <c:pt idx="203">
                  <c:v>653</c:v>
                </c:pt>
                <c:pt idx="204">
                  <c:v>618</c:v>
                </c:pt>
                <c:pt idx="205">
                  <c:v>614</c:v>
                </c:pt>
                <c:pt idx="206">
                  <c:v>596</c:v>
                </c:pt>
                <c:pt idx="207">
                  <c:v>562</c:v>
                </c:pt>
                <c:pt idx="208">
                  <c:v>561</c:v>
                </c:pt>
                <c:pt idx="209">
                  <c:v>575</c:v>
                </c:pt>
                <c:pt idx="210">
                  <c:v>544</c:v>
                </c:pt>
                <c:pt idx="211">
                  <c:v>537</c:v>
                </c:pt>
                <c:pt idx="212">
                  <c:v>522</c:v>
                </c:pt>
                <c:pt idx="213">
                  <c:v>493</c:v>
                </c:pt>
                <c:pt idx="214">
                  <c:v>483</c:v>
                </c:pt>
                <c:pt idx="215">
                  <c:v>481</c:v>
                </c:pt>
                <c:pt idx="216">
                  <c:v>479</c:v>
                </c:pt>
                <c:pt idx="217">
                  <c:v>449</c:v>
                </c:pt>
                <c:pt idx="218">
                  <c:v>447</c:v>
                </c:pt>
                <c:pt idx="219">
                  <c:v>432</c:v>
                </c:pt>
                <c:pt idx="220">
                  <c:v>402</c:v>
                </c:pt>
                <c:pt idx="221">
                  <c:v>397</c:v>
                </c:pt>
                <c:pt idx="222">
                  <c:v>396</c:v>
                </c:pt>
                <c:pt idx="223">
                  <c:v>396</c:v>
                </c:pt>
                <c:pt idx="224">
                  <c:v>385</c:v>
                </c:pt>
                <c:pt idx="225">
                  <c:v>364</c:v>
                </c:pt>
                <c:pt idx="226">
                  <c:v>354</c:v>
                </c:pt>
                <c:pt idx="227">
                  <c:v>338</c:v>
                </c:pt>
                <c:pt idx="228">
                  <c:v>336</c:v>
                </c:pt>
                <c:pt idx="229">
                  <c:v>338</c:v>
                </c:pt>
                <c:pt idx="230">
                  <c:v>342</c:v>
                </c:pt>
                <c:pt idx="231">
                  <c:v>337</c:v>
                </c:pt>
                <c:pt idx="232">
                  <c:v>329</c:v>
                </c:pt>
                <c:pt idx="233">
                  <c:v>330</c:v>
                </c:pt>
                <c:pt idx="234">
                  <c:v>334</c:v>
                </c:pt>
                <c:pt idx="235">
                  <c:v>326</c:v>
                </c:pt>
                <c:pt idx="236">
                  <c:v>325</c:v>
                </c:pt>
                <c:pt idx="237">
                  <c:v>326</c:v>
                </c:pt>
                <c:pt idx="238">
                  <c:v>325</c:v>
                </c:pt>
                <c:pt idx="239">
                  <c:v>323</c:v>
                </c:pt>
                <c:pt idx="240">
                  <c:v>322</c:v>
                </c:pt>
                <c:pt idx="241">
                  <c:v>322</c:v>
                </c:pt>
                <c:pt idx="242">
                  <c:v>316</c:v>
                </c:pt>
                <c:pt idx="243">
                  <c:v>316</c:v>
                </c:pt>
                <c:pt idx="244">
                  <c:v>318</c:v>
                </c:pt>
                <c:pt idx="245">
                  <c:v>313</c:v>
                </c:pt>
                <c:pt idx="246">
                  <c:v>310</c:v>
                </c:pt>
                <c:pt idx="247">
                  <c:v>302</c:v>
                </c:pt>
                <c:pt idx="248">
                  <c:v>301</c:v>
                </c:pt>
                <c:pt idx="249">
                  <c:v>295</c:v>
                </c:pt>
                <c:pt idx="250">
                  <c:v>298</c:v>
                </c:pt>
                <c:pt idx="251">
                  <c:v>302</c:v>
                </c:pt>
                <c:pt idx="252">
                  <c:v>302</c:v>
                </c:pt>
                <c:pt idx="253">
                  <c:v>299</c:v>
                </c:pt>
                <c:pt idx="254">
                  <c:v>299</c:v>
                </c:pt>
                <c:pt idx="255">
                  <c:v>299</c:v>
                </c:pt>
                <c:pt idx="256">
                  <c:v>295</c:v>
                </c:pt>
                <c:pt idx="257">
                  <c:v>294</c:v>
                </c:pt>
                <c:pt idx="258">
                  <c:v>296</c:v>
                </c:pt>
                <c:pt idx="259">
                  <c:v>292</c:v>
                </c:pt>
                <c:pt idx="260">
                  <c:v>294</c:v>
                </c:pt>
                <c:pt idx="261">
                  <c:v>291</c:v>
                </c:pt>
                <c:pt idx="262">
                  <c:v>291</c:v>
                </c:pt>
                <c:pt idx="263">
                  <c:v>290</c:v>
                </c:pt>
                <c:pt idx="264">
                  <c:v>289</c:v>
                </c:pt>
                <c:pt idx="265">
                  <c:v>290</c:v>
                </c:pt>
                <c:pt idx="266">
                  <c:v>289</c:v>
                </c:pt>
                <c:pt idx="267">
                  <c:v>288</c:v>
                </c:pt>
                <c:pt idx="268">
                  <c:v>286</c:v>
                </c:pt>
                <c:pt idx="269">
                  <c:v>285</c:v>
                </c:pt>
                <c:pt idx="270">
                  <c:v>285</c:v>
                </c:pt>
                <c:pt idx="271">
                  <c:v>282</c:v>
                </c:pt>
                <c:pt idx="272">
                  <c:v>282</c:v>
                </c:pt>
                <c:pt idx="273">
                  <c:v>280</c:v>
                </c:pt>
                <c:pt idx="274">
                  <c:v>283</c:v>
                </c:pt>
                <c:pt idx="275">
                  <c:v>279</c:v>
                </c:pt>
                <c:pt idx="276">
                  <c:v>274</c:v>
                </c:pt>
                <c:pt idx="277">
                  <c:v>273</c:v>
                </c:pt>
                <c:pt idx="278">
                  <c:v>273</c:v>
                </c:pt>
                <c:pt idx="279">
                  <c:v>274</c:v>
                </c:pt>
                <c:pt idx="280">
                  <c:v>274</c:v>
                </c:pt>
                <c:pt idx="281">
                  <c:v>273</c:v>
                </c:pt>
                <c:pt idx="282">
                  <c:v>272</c:v>
                </c:pt>
                <c:pt idx="283">
                  <c:v>273</c:v>
                </c:pt>
                <c:pt idx="284">
                  <c:v>270</c:v>
                </c:pt>
                <c:pt idx="285">
                  <c:v>270</c:v>
                </c:pt>
                <c:pt idx="286">
                  <c:v>270</c:v>
                </c:pt>
                <c:pt idx="287">
                  <c:v>270</c:v>
                </c:pt>
                <c:pt idx="288">
                  <c:v>270</c:v>
                </c:pt>
                <c:pt idx="289">
                  <c:v>270</c:v>
                </c:pt>
                <c:pt idx="290">
                  <c:v>270</c:v>
                </c:pt>
                <c:pt idx="291">
                  <c:v>270</c:v>
                </c:pt>
                <c:pt idx="292">
                  <c:v>270</c:v>
                </c:pt>
                <c:pt idx="293">
                  <c:v>270</c:v>
                </c:pt>
                <c:pt idx="294">
                  <c:v>270</c:v>
                </c:pt>
                <c:pt idx="295">
                  <c:v>271</c:v>
                </c:pt>
                <c:pt idx="296">
                  <c:v>271</c:v>
                </c:pt>
                <c:pt idx="297">
                  <c:v>270</c:v>
                </c:pt>
                <c:pt idx="298">
                  <c:v>270</c:v>
                </c:pt>
                <c:pt idx="299">
                  <c:v>270</c:v>
                </c:pt>
                <c:pt idx="300">
                  <c:v>270</c:v>
                </c:pt>
                <c:pt idx="301">
                  <c:v>270</c:v>
                </c:pt>
                <c:pt idx="302">
                  <c:v>269</c:v>
                </c:pt>
                <c:pt idx="303">
                  <c:v>270</c:v>
                </c:pt>
                <c:pt idx="304">
                  <c:v>268</c:v>
                </c:pt>
                <c:pt idx="305">
                  <c:v>268</c:v>
                </c:pt>
                <c:pt idx="306">
                  <c:v>269</c:v>
                </c:pt>
                <c:pt idx="307">
                  <c:v>269</c:v>
                </c:pt>
                <c:pt idx="308">
                  <c:v>269</c:v>
                </c:pt>
                <c:pt idx="309">
                  <c:v>269</c:v>
                </c:pt>
                <c:pt idx="310">
                  <c:v>268</c:v>
                </c:pt>
                <c:pt idx="311">
                  <c:v>268</c:v>
                </c:pt>
                <c:pt idx="312">
                  <c:v>268</c:v>
                </c:pt>
                <c:pt idx="313">
                  <c:v>268</c:v>
                </c:pt>
                <c:pt idx="314">
                  <c:v>268</c:v>
                </c:pt>
                <c:pt idx="315">
                  <c:v>268</c:v>
                </c:pt>
                <c:pt idx="316">
                  <c:v>268</c:v>
                </c:pt>
                <c:pt idx="317">
                  <c:v>268</c:v>
                </c:pt>
                <c:pt idx="318">
                  <c:v>268</c:v>
                </c:pt>
                <c:pt idx="319">
                  <c:v>268</c:v>
                </c:pt>
                <c:pt idx="320">
                  <c:v>268</c:v>
                </c:pt>
                <c:pt idx="321">
                  <c:v>268</c:v>
                </c:pt>
                <c:pt idx="322">
                  <c:v>267</c:v>
                </c:pt>
                <c:pt idx="323">
                  <c:v>267</c:v>
                </c:pt>
                <c:pt idx="324">
                  <c:v>267</c:v>
                </c:pt>
                <c:pt idx="325">
                  <c:v>267</c:v>
                </c:pt>
                <c:pt idx="326">
                  <c:v>268</c:v>
                </c:pt>
                <c:pt idx="327">
                  <c:v>267</c:v>
                </c:pt>
                <c:pt idx="328">
                  <c:v>267</c:v>
                </c:pt>
                <c:pt idx="329">
                  <c:v>267</c:v>
                </c:pt>
                <c:pt idx="330">
                  <c:v>267</c:v>
                </c:pt>
                <c:pt idx="331">
                  <c:v>267</c:v>
                </c:pt>
                <c:pt idx="332">
                  <c:v>266</c:v>
                </c:pt>
                <c:pt idx="333">
                  <c:v>266</c:v>
                </c:pt>
                <c:pt idx="334">
                  <c:v>266</c:v>
                </c:pt>
                <c:pt idx="335">
                  <c:v>266</c:v>
                </c:pt>
                <c:pt idx="336">
                  <c:v>265</c:v>
                </c:pt>
                <c:pt idx="337">
                  <c:v>265</c:v>
                </c:pt>
                <c:pt idx="338">
                  <c:v>265</c:v>
                </c:pt>
                <c:pt idx="339">
                  <c:v>265</c:v>
                </c:pt>
                <c:pt idx="340">
                  <c:v>265</c:v>
                </c:pt>
                <c:pt idx="341">
                  <c:v>265</c:v>
                </c:pt>
                <c:pt idx="342">
                  <c:v>265</c:v>
                </c:pt>
                <c:pt idx="343">
                  <c:v>265</c:v>
                </c:pt>
                <c:pt idx="344">
                  <c:v>265</c:v>
                </c:pt>
                <c:pt idx="345">
                  <c:v>265</c:v>
                </c:pt>
                <c:pt idx="346">
                  <c:v>265</c:v>
                </c:pt>
                <c:pt idx="347">
                  <c:v>265</c:v>
                </c:pt>
                <c:pt idx="348">
                  <c:v>265</c:v>
                </c:pt>
                <c:pt idx="349">
                  <c:v>266</c:v>
                </c:pt>
                <c:pt idx="350">
                  <c:v>267</c:v>
                </c:pt>
                <c:pt idx="351">
                  <c:v>267</c:v>
                </c:pt>
                <c:pt idx="352">
                  <c:v>268</c:v>
                </c:pt>
                <c:pt idx="353">
                  <c:v>267</c:v>
                </c:pt>
                <c:pt idx="354">
                  <c:v>267</c:v>
                </c:pt>
                <c:pt idx="355">
                  <c:v>267</c:v>
                </c:pt>
                <c:pt idx="356">
                  <c:v>269</c:v>
                </c:pt>
                <c:pt idx="357">
                  <c:v>269</c:v>
                </c:pt>
                <c:pt idx="358">
                  <c:v>269</c:v>
                </c:pt>
                <c:pt idx="359">
                  <c:v>269</c:v>
                </c:pt>
                <c:pt idx="360">
                  <c:v>269</c:v>
                </c:pt>
                <c:pt idx="361">
                  <c:v>268</c:v>
                </c:pt>
                <c:pt idx="362">
                  <c:v>268</c:v>
                </c:pt>
                <c:pt idx="363">
                  <c:v>268</c:v>
                </c:pt>
                <c:pt idx="364">
                  <c:v>268</c:v>
                </c:pt>
                <c:pt idx="365">
                  <c:v>269</c:v>
                </c:pt>
                <c:pt idx="366">
                  <c:v>273</c:v>
                </c:pt>
                <c:pt idx="367">
                  <c:v>275</c:v>
                </c:pt>
                <c:pt idx="368">
                  <c:v>276</c:v>
                </c:pt>
                <c:pt idx="369">
                  <c:v>275</c:v>
                </c:pt>
                <c:pt idx="370">
                  <c:v>279</c:v>
                </c:pt>
                <c:pt idx="371">
                  <c:v>276</c:v>
                </c:pt>
                <c:pt idx="372">
                  <c:v>276</c:v>
                </c:pt>
                <c:pt idx="373">
                  <c:v>276</c:v>
                </c:pt>
                <c:pt idx="374">
                  <c:v>276</c:v>
                </c:pt>
                <c:pt idx="375">
                  <c:v>276</c:v>
                </c:pt>
                <c:pt idx="376">
                  <c:v>276</c:v>
                </c:pt>
                <c:pt idx="377">
                  <c:v>277</c:v>
                </c:pt>
                <c:pt idx="378">
                  <c:v>277</c:v>
                </c:pt>
                <c:pt idx="379">
                  <c:v>277</c:v>
                </c:pt>
                <c:pt idx="380">
                  <c:v>276</c:v>
                </c:pt>
                <c:pt idx="381">
                  <c:v>274</c:v>
                </c:pt>
                <c:pt idx="382">
                  <c:v>274</c:v>
                </c:pt>
                <c:pt idx="383">
                  <c:v>274</c:v>
                </c:pt>
                <c:pt idx="384">
                  <c:v>275</c:v>
                </c:pt>
                <c:pt idx="385">
                  <c:v>272</c:v>
                </c:pt>
                <c:pt idx="386">
                  <c:v>272</c:v>
                </c:pt>
                <c:pt idx="387">
                  <c:v>270</c:v>
                </c:pt>
                <c:pt idx="388">
                  <c:v>270</c:v>
                </c:pt>
                <c:pt idx="389">
                  <c:v>270</c:v>
                </c:pt>
                <c:pt idx="390">
                  <c:v>270</c:v>
                </c:pt>
                <c:pt idx="391">
                  <c:v>272</c:v>
                </c:pt>
                <c:pt idx="392">
                  <c:v>270</c:v>
                </c:pt>
                <c:pt idx="393">
                  <c:v>271</c:v>
                </c:pt>
                <c:pt idx="394">
                  <c:v>271</c:v>
                </c:pt>
                <c:pt idx="395">
                  <c:v>272</c:v>
                </c:pt>
                <c:pt idx="396">
                  <c:v>273</c:v>
                </c:pt>
                <c:pt idx="397">
                  <c:v>274</c:v>
                </c:pt>
                <c:pt idx="398">
                  <c:v>276</c:v>
                </c:pt>
                <c:pt idx="399">
                  <c:v>278</c:v>
                </c:pt>
                <c:pt idx="400">
                  <c:v>286</c:v>
                </c:pt>
                <c:pt idx="401">
                  <c:v>285</c:v>
                </c:pt>
                <c:pt idx="402">
                  <c:v>310</c:v>
                </c:pt>
                <c:pt idx="403">
                  <c:v>310</c:v>
                </c:pt>
                <c:pt idx="404">
                  <c:v>310</c:v>
                </c:pt>
                <c:pt idx="405">
                  <c:v>311</c:v>
                </c:pt>
                <c:pt idx="406">
                  <c:v>312</c:v>
                </c:pt>
                <c:pt idx="407">
                  <c:v>330</c:v>
                </c:pt>
                <c:pt idx="408">
                  <c:v>332</c:v>
                </c:pt>
                <c:pt idx="409">
                  <c:v>332</c:v>
                </c:pt>
                <c:pt idx="410">
                  <c:v>332</c:v>
                </c:pt>
                <c:pt idx="411">
                  <c:v>331</c:v>
                </c:pt>
                <c:pt idx="412">
                  <c:v>335</c:v>
                </c:pt>
                <c:pt idx="413">
                  <c:v>336</c:v>
                </c:pt>
                <c:pt idx="414">
                  <c:v>330</c:v>
                </c:pt>
                <c:pt idx="415">
                  <c:v>330</c:v>
                </c:pt>
                <c:pt idx="416">
                  <c:v>313</c:v>
                </c:pt>
                <c:pt idx="417">
                  <c:v>312</c:v>
                </c:pt>
                <c:pt idx="418">
                  <c:v>310</c:v>
                </c:pt>
                <c:pt idx="419">
                  <c:v>323</c:v>
                </c:pt>
                <c:pt idx="420">
                  <c:v>331</c:v>
                </c:pt>
                <c:pt idx="421">
                  <c:v>339</c:v>
                </c:pt>
                <c:pt idx="422">
                  <c:v>323</c:v>
                </c:pt>
                <c:pt idx="423">
                  <c:v>341</c:v>
                </c:pt>
                <c:pt idx="424">
                  <c:v>344</c:v>
                </c:pt>
                <c:pt idx="425">
                  <c:v>353</c:v>
                </c:pt>
                <c:pt idx="426">
                  <c:v>388</c:v>
                </c:pt>
                <c:pt idx="427">
                  <c:v>400</c:v>
                </c:pt>
                <c:pt idx="428">
                  <c:v>404</c:v>
                </c:pt>
                <c:pt idx="429">
                  <c:v>452</c:v>
                </c:pt>
                <c:pt idx="430">
                  <c:v>471</c:v>
                </c:pt>
                <c:pt idx="431">
                  <c:v>465</c:v>
                </c:pt>
                <c:pt idx="432">
                  <c:v>464</c:v>
                </c:pt>
                <c:pt idx="433">
                  <c:v>489</c:v>
                </c:pt>
                <c:pt idx="434">
                  <c:v>503</c:v>
                </c:pt>
                <c:pt idx="435">
                  <c:v>510</c:v>
                </c:pt>
                <c:pt idx="436">
                  <c:v>517</c:v>
                </c:pt>
                <c:pt idx="437">
                  <c:v>529</c:v>
                </c:pt>
                <c:pt idx="438">
                  <c:v>526</c:v>
                </c:pt>
                <c:pt idx="439">
                  <c:v>531</c:v>
                </c:pt>
                <c:pt idx="440">
                  <c:v>561</c:v>
                </c:pt>
                <c:pt idx="441">
                  <c:v>563</c:v>
                </c:pt>
                <c:pt idx="442">
                  <c:v>567</c:v>
                </c:pt>
                <c:pt idx="443">
                  <c:v>597</c:v>
                </c:pt>
                <c:pt idx="444">
                  <c:v>652</c:v>
                </c:pt>
                <c:pt idx="445">
                  <c:v>655</c:v>
                </c:pt>
                <c:pt idx="446">
                  <c:v>653</c:v>
                </c:pt>
                <c:pt idx="447">
                  <c:v>695</c:v>
                </c:pt>
                <c:pt idx="448">
                  <c:v>680</c:v>
                </c:pt>
                <c:pt idx="449">
                  <c:v>689</c:v>
                </c:pt>
                <c:pt idx="450">
                  <c:v>689</c:v>
                </c:pt>
                <c:pt idx="451">
                  <c:v>722</c:v>
                </c:pt>
                <c:pt idx="452">
                  <c:v>707</c:v>
                </c:pt>
                <c:pt idx="453">
                  <c:v>708</c:v>
                </c:pt>
                <c:pt idx="454">
                  <c:v>740</c:v>
                </c:pt>
                <c:pt idx="455">
                  <c:v>719</c:v>
                </c:pt>
                <c:pt idx="456">
                  <c:v>692</c:v>
                </c:pt>
                <c:pt idx="457">
                  <c:v>695</c:v>
                </c:pt>
                <c:pt idx="458">
                  <c:v>589</c:v>
                </c:pt>
                <c:pt idx="459">
                  <c:v>610</c:v>
                </c:pt>
                <c:pt idx="460">
                  <c:v>591</c:v>
                </c:pt>
                <c:pt idx="461">
                  <c:v>610</c:v>
                </c:pt>
                <c:pt idx="462">
                  <c:v>586</c:v>
                </c:pt>
                <c:pt idx="463">
                  <c:v>577</c:v>
                </c:pt>
                <c:pt idx="464">
                  <c:v>566</c:v>
                </c:pt>
                <c:pt idx="465">
                  <c:v>524</c:v>
                </c:pt>
                <c:pt idx="466">
                  <c:v>509</c:v>
                </c:pt>
                <c:pt idx="467">
                  <c:v>506</c:v>
                </c:pt>
                <c:pt idx="468">
                  <c:v>513</c:v>
                </c:pt>
                <c:pt idx="469">
                  <c:v>501</c:v>
                </c:pt>
                <c:pt idx="470">
                  <c:v>493</c:v>
                </c:pt>
                <c:pt idx="471">
                  <c:v>469</c:v>
                </c:pt>
                <c:pt idx="472">
                  <c:v>452</c:v>
                </c:pt>
                <c:pt idx="473">
                  <c:v>404</c:v>
                </c:pt>
                <c:pt idx="474">
                  <c:v>405</c:v>
                </c:pt>
                <c:pt idx="475">
                  <c:v>417</c:v>
                </c:pt>
                <c:pt idx="476">
                  <c:v>391</c:v>
                </c:pt>
                <c:pt idx="477">
                  <c:v>372</c:v>
                </c:pt>
                <c:pt idx="478">
                  <c:v>341</c:v>
                </c:pt>
                <c:pt idx="479">
                  <c:v>318</c:v>
                </c:pt>
                <c:pt idx="480">
                  <c:v>308</c:v>
                </c:pt>
                <c:pt idx="481">
                  <c:v>303</c:v>
                </c:pt>
                <c:pt idx="482">
                  <c:v>312</c:v>
                </c:pt>
                <c:pt idx="483">
                  <c:v>286</c:v>
                </c:pt>
                <c:pt idx="484">
                  <c:v>281</c:v>
                </c:pt>
                <c:pt idx="485">
                  <c:v>266</c:v>
                </c:pt>
                <c:pt idx="486">
                  <c:v>259</c:v>
                </c:pt>
                <c:pt idx="487">
                  <c:v>250</c:v>
                </c:pt>
                <c:pt idx="488">
                  <c:v>246</c:v>
                </c:pt>
                <c:pt idx="489">
                  <c:v>248</c:v>
                </c:pt>
                <c:pt idx="490">
                  <c:v>235</c:v>
                </c:pt>
                <c:pt idx="491">
                  <c:v>234</c:v>
                </c:pt>
                <c:pt idx="492">
                  <c:v>234</c:v>
                </c:pt>
                <c:pt idx="493">
                  <c:v>231</c:v>
                </c:pt>
                <c:pt idx="494">
                  <c:v>229</c:v>
                </c:pt>
                <c:pt idx="495">
                  <c:v>228</c:v>
                </c:pt>
                <c:pt idx="496">
                  <c:v>227</c:v>
                </c:pt>
                <c:pt idx="497">
                  <c:v>219</c:v>
                </c:pt>
                <c:pt idx="498">
                  <c:v>220</c:v>
                </c:pt>
                <c:pt idx="499">
                  <c:v>217</c:v>
                </c:pt>
                <c:pt idx="500">
                  <c:v>219</c:v>
                </c:pt>
                <c:pt idx="501">
                  <c:v>216</c:v>
                </c:pt>
                <c:pt idx="502">
                  <c:v>219</c:v>
                </c:pt>
                <c:pt idx="503">
                  <c:v>238</c:v>
                </c:pt>
                <c:pt idx="504">
                  <c:v>246</c:v>
                </c:pt>
                <c:pt idx="505">
                  <c:v>245</c:v>
                </c:pt>
                <c:pt idx="506">
                  <c:v>261</c:v>
                </c:pt>
                <c:pt idx="507">
                  <c:v>264</c:v>
                </c:pt>
                <c:pt idx="508">
                  <c:v>283</c:v>
                </c:pt>
                <c:pt idx="509">
                  <c:v>287</c:v>
                </c:pt>
                <c:pt idx="510">
                  <c:v>323</c:v>
                </c:pt>
                <c:pt idx="511">
                  <c:v>360</c:v>
                </c:pt>
                <c:pt idx="512">
                  <c:v>395</c:v>
                </c:pt>
                <c:pt idx="513">
                  <c:v>415</c:v>
                </c:pt>
                <c:pt idx="514">
                  <c:v>453</c:v>
                </c:pt>
                <c:pt idx="515">
                  <c:v>449</c:v>
                </c:pt>
                <c:pt idx="516">
                  <c:v>445</c:v>
                </c:pt>
                <c:pt idx="517">
                  <c:v>471</c:v>
                </c:pt>
                <c:pt idx="518">
                  <c:v>484</c:v>
                </c:pt>
                <c:pt idx="519">
                  <c:v>504</c:v>
                </c:pt>
                <c:pt idx="520">
                  <c:v>516</c:v>
                </c:pt>
                <c:pt idx="521">
                  <c:v>538</c:v>
                </c:pt>
                <c:pt idx="522">
                  <c:v>500</c:v>
                </c:pt>
                <c:pt idx="523">
                  <c:v>474</c:v>
                </c:pt>
                <c:pt idx="524">
                  <c:v>505</c:v>
                </c:pt>
                <c:pt idx="525">
                  <c:v>498</c:v>
                </c:pt>
                <c:pt idx="526">
                  <c:v>514</c:v>
                </c:pt>
                <c:pt idx="527">
                  <c:v>551</c:v>
                </c:pt>
                <c:pt idx="528">
                  <c:v>578</c:v>
                </c:pt>
                <c:pt idx="529">
                  <c:v>524</c:v>
                </c:pt>
                <c:pt idx="530">
                  <c:v>491</c:v>
                </c:pt>
                <c:pt idx="531">
                  <c:v>504</c:v>
                </c:pt>
                <c:pt idx="532">
                  <c:v>490</c:v>
                </c:pt>
                <c:pt idx="533">
                  <c:v>528</c:v>
                </c:pt>
                <c:pt idx="534">
                  <c:v>562</c:v>
                </c:pt>
                <c:pt idx="535">
                  <c:v>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37</c:f>
              <c:numCache>
                <c:formatCode>m/d/yyyy</c:formatCode>
                <c:ptCount val="5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</c:numCache>
            </c:numRef>
          </c:cat>
          <c:val>
            <c:numRef>
              <c:f>List1!$C$2:$C$537</c:f>
              <c:numCache>
                <c:formatCode>General</c:formatCode>
                <c:ptCount val="536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5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3</c:v>
                </c:pt>
                <c:pt idx="13">
                  <c:v>6</c:v>
                </c:pt>
                <c:pt idx="14">
                  <c:v>6</c:v>
                </c:pt>
                <c:pt idx="15">
                  <c:v>8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12</c:v>
                </c:pt>
                <c:pt idx="20">
                  <c:v>13</c:v>
                </c:pt>
                <c:pt idx="21">
                  <c:v>16</c:v>
                </c:pt>
                <c:pt idx="22">
                  <c:v>14</c:v>
                </c:pt>
                <c:pt idx="23">
                  <c:v>18</c:v>
                </c:pt>
                <c:pt idx="24">
                  <c:v>29</c:v>
                </c:pt>
                <c:pt idx="25">
                  <c:v>33</c:v>
                </c:pt>
                <c:pt idx="26">
                  <c:v>34</c:v>
                </c:pt>
                <c:pt idx="27">
                  <c:v>39</c:v>
                </c:pt>
                <c:pt idx="28">
                  <c:v>58</c:v>
                </c:pt>
                <c:pt idx="29">
                  <c:v>61</c:v>
                </c:pt>
                <c:pt idx="30">
                  <c:v>89</c:v>
                </c:pt>
                <c:pt idx="31">
                  <c:v>179</c:v>
                </c:pt>
                <c:pt idx="32">
                  <c:v>203</c:v>
                </c:pt>
                <c:pt idx="33">
                  <c:v>218</c:v>
                </c:pt>
                <c:pt idx="34">
                  <c:v>307</c:v>
                </c:pt>
                <c:pt idx="35">
                  <c:v>346</c:v>
                </c:pt>
                <c:pt idx="36">
                  <c:v>371</c:v>
                </c:pt>
                <c:pt idx="37">
                  <c:v>453</c:v>
                </c:pt>
                <c:pt idx="38">
                  <c:v>539</c:v>
                </c:pt>
                <c:pt idx="39">
                  <c:v>576</c:v>
                </c:pt>
                <c:pt idx="40">
                  <c:v>591</c:v>
                </c:pt>
                <c:pt idx="41">
                  <c:v>730</c:v>
                </c:pt>
                <c:pt idx="42">
                  <c:v>856</c:v>
                </c:pt>
                <c:pt idx="43">
                  <c:v>1028</c:v>
                </c:pt>
                <c:pt idx="44">
                  <c:v>1206</c:v>
                </c:pt>
                <c:pt idx="45">
                  <c:v>1374</c:v>
                </c:pt>
                <c:pt idx="46">
                  <c:v>1441</c:v>
                </c:pt>
                <c:pt idx="47">
                  <c:v>1435</c:v>
                </c:pt>
                <c:pt idx="48">
                  <c:v>1579</c:v>
                </c:pt>
                <c:pt idx="49">
                  <c:v>1726</c:v>
                </c:pt>
                <c:pt idx="50">
                  <c:v>1955</c:v>
                </c:pt>
                <c:pt idx="51">
                  <c:v>2116</c:v>
                </c:pt>
                <c:pt idx="52">
                  <c:v>2382</c:v>
                </c:pt>
                <c:pt idx="53">
                  <c:v>2456</c:v>
                </c:pt>
                <c:pt idx="54">
                  <c:v>2421</c:v>
                </c:pt>
                <c:pt idx="55">
                  <c:v>2588</c:v>
                </c:pt>
                <c:pt idx="56">
                  <c:v>2774</c:v>
                </c:pt>
                <c:pt idx="57">
                  <c:v>2788</c:v>
                </c:pt>
                <c:pt idx="58">
                  <c:v>3194</c:v>
                </c:pt>
                <c:pt idx="59">
                  <c:v>3338</c:v>
                </c:pt>
                <c:pt idx="60">
                  <c:v>3251</c:v>
                </c:pt>
                <c:pt idx="61">
                  <c:v>3091</c:v>
                </c:pt>
                <c:pt idx="62">
                  <c:v>3120</c:v>
                </c:pt>
                <c:pt idx="63">
                  <c:v>3052</c:v>
                </c:pt>
                <c:pt idx="64">
                  <c:v>3250</c:v>
                </c:pt>
                <c:pt idx="65">
                  <c:v>3429</c:v>
                </c:pt>
                <c:pt idx="66">
                  <c:v>3248</c:v>
                </c:pt>
                <c:pt idx="67">
                  <c:v>2998</c:v>
                </c:pt>
                <c:pt idx="68">
                  <c:v>2899</c:v>
                </c:pt>
                <c:pt idx="69">
                  <c:v>2753</c:v>
                </c:pt>
                <c:pt idx="70">
                  <c:v>2611</c:v>
                </c:pt>
                <c:pt idx="71">
                  <c:v>2737</c:v>
                </c:pt>
                <c:pt idx="72">
                  <c:v>2870</c:v>
                </c:pt>
                <c:pt idx="73">
                  <c:v>2772</c:v>
                </c:pt>
                <c:pt idx="74">
                  <c:v>2568</c:v>
                </c:pt>
                <c:pt idx="75">
                  <c:v>2326</c:v>
                </c:pt>
                <c:pt idx="76">
                  <c:v>2297</c:v>
                </c:pt>
                <c:pt idx="77">
                  <c:v>2141</c:v>
                </c:pt>
                <c:pt idx="78">
                  <c:v>2244</c:v>
                </c:pt>
                <c:pt idx="79">
                  <c:v>2321</c:v>
                </c:pt>
                <c:pt idx="80">
                  <c:v>2271</c:v>
                </c:pt>
                <c:pt idx="81">
                  <c:v>2018</c:v>
                </c:pt>
                <c:pt idx="82">
                  <c:v>1832</c:v>
                </c:pt>
                <c:pt idx="83">
                  <c:v>1816</c:v>
                </c:pt>
                <c:pt idx="84">
                  <c:v>1757</c:v>
                </c:pt>
                <c:pt idx="85">
                  <c:v>1780</c:v>
                </c:pt>
                <c:pt idx="86">
                  <c:v>1804</c:v>
                </c:pt>
                <c:pt idx="87">
                  <c:v>1761</c:v>
                </c:pt>
                <c:pt idx="88">
                  <c:v>1720</c:v>
                </c:pt>
                <c:pt idx="89">
                  <c:v>1575</c:v>
                </c:pt>
                <c:pt idx="90">
                  <c:v>1555</c:v>
                </c:pt>
                <c:pt idx="91">
                  <c:v>1550</c:v>
                </c:pt>
                <c:pt idx="92">
                  <c:v>1603</c:v>
                </c:pt>
                <c:pt idx="93">
                  <c:v>1644</c:v>
                </c:pt>
                <c:pt idx="94">
                  <c:v>1581</c:v>
                </c:pt>
                <c:pt idx="95">
                  <c:v>1519</c:v>
                </c:pt>
                <c:pt idx="96">
                  <c:v>1447</c:v>
                </c:pt>
                <c:pt idx="97">
                  <c:v>1506</c:v>
                </c:pt>
                <c:pt idx="98">
                  <c:v>1497</c:v>
                </c:pt>
                <c:pt idx="99">
                  <c:v>1537</c:v>
                </c:pt>
                <c:pt idx="100">
                  <c:v>1584</c:v>
                </c:pt>
                <c:pt idx="101">
                  <c:v>1566</c:v>
                </c:pt>
                <c:pt idx="102">
                  <c:v>1493</c:v>
                </c:pt>
                <c:pt idx="103">
                  <c:v>1453</c:v>
                </c:pt>
                <c:pt idx="104">
                  <c:v>1498</c:v>
                </c:pt>
                <c:pt idx="105">
                  <c:v>1502</c:v>
                </c:pt>
                <c:pt idx="106">
                  <c:v>1573</c:v>
                </c:pt>
                <c:pt idx="107">
                  <c:v>1609</c:v>
                </c:pt>
                <c:pt idx="108">
                  <c:v>1562</c:v>
                </c:pt>
                <c:pt idx="109">
                  <c:v>1510</c:v>
                </c:pt>
                <c:pt idx="110">
                  <c:v>1462</c:v>
                </c:pt>
                <c:pt idx="111">
                  <c:v>1568</c:v>
                </c:pt>
                <c:pt idx="112">
                  <c:v>1619</c:v>
                </c:pt>
                <c:pt idx="113">
                  <c:v>1713</c:v>
                </c:pt>
                <c:pt idx="114">
                  <c:v>1731</c:v>
                </c:pt>
                <c:pt idx="115">
                  <c:v>1683</c:v>
                </c:pt>
                <c:pt idx="116">
                  <c:v>1641</c:v>
                </c:pt>
                <c:pt idx="117">
                  <c:v>1612</c:v>
                </c:pt>
                <c:pt idx="118">
                  <c:v>1728</c:v>
                </c:pt>
                <c:pt idx="119">
                  <c:v>1815</c:v>
                </c:pt>
                <c:pt idx="120">
                  <c:v>1890</c:v>
                </c:pt>
                <c:pt idx="121">
                  <c:v>1962</c:v>
                </c:pt>
                <c:pt idx="122">
                  <c:v>1867</c:v>
                </c:pt>
                <c:pt idx="123">
                  <c:v>1798</c:v>
                </c:pt>
                <c:pt idx="124">
                  <c:v>1732</c:v>
                </c:pt>
                <c:pt idx="125">
                  <c:v>2005</c:v>
                </c:pt>
                <c:pt idx="126">
                  <c:v>2130</c:v>
                </c:pt>
                <c:pt idx="127">
                  <c:v>2212</c:v>
                </c:pt>
                <c:pt idx="128">
                  <c:v>2280</c:v>
                </c:pt>
                <c:pt idx="129">
                  <c:v>2188</c:v>
                </c:pt>
                <c:pt idx="130">
                  <c:v>2076</c:v>
                </c:pt>
                <c:pt idx="131">
                  <c:v>1954</c:v>
                </c:pt>
                <c:pt idx="132">
                  <c:v>2111</c:v>
                </c:pt>
                <c:pt idx="133">
                  <c:v>2198</c:v>
                </c:pt>
                <c:pt idx="134">
                  <c:v>2273</c:v>
                </c:pt>
                <c:pt idx="135">
                  <c:v>2278</c:v>
                </c:pt>
                <c:pt idx="136">
                  <c:v>2138</c:v>
                </c:pt>
                <c:pt idx="137">
                  <c:v>1996</c:v>
                </c:pt>
                <c:pt idx="138">
                  <c:v>1887</c:v>
                </c:pt>
                <c:pt idx="139">
                  <c:v>1888</c:v>
                </c:pt>
                <c:pt idx="140">
                  <c:v>1836</c:v>
                </c:pt>
                <c:pt idx="141">
                  <c:v>1870</c:v>
                </c:pt>
                <c:pt idx="142">
                  <c:v>1905</c:v>
                </c:pt>
                <c:pt idx="143">
                  <c:v>1813</c:v>
                </c:pt>
                <c:pt idx="144">
                  <c:v>1737</c:v>
                </c:pt>
                <c:pt idx="145">
                  <c:v>1628</c:v>
                </c:pt>
                <c:pt idx="146">
                  <c:v>1640</c:v>
                </c:pt>
                <c:pt idx="147">
                  <c:v>1647</c:v>
                </c:pt>
                <c:pt idx="148">
                  <c:v>1674</c:v>
                </c:pt>
                <c:pt idx="149">
                  <c:v>1686</c:v>
                </c:pt>
                <c:pt idx="150">
                  <c:v>1605</c:v>
                </c:pt>
                <c:pt idx="151">
                  <c:v>1536</c:v>
                </c:pt>
                <c:pt idx="152">
                  <c:v>1462</c:v>
                </c:pt>
                <c:pt idx="153">
                  <c:v>1485</c:v>
                </c:pt>
                <c:pt idx="154">
                  <c:v>1483</c:v>
                </c:pt>
                <c:pt idx="155">
                  <c:v>1521</c:v>
                </c:pt>
                <c:pt idx="156">
                  <c:v>1547</c:v>
                </c:pt>
                <c:pt idx="157">
                  <c:v>1489</c:v>
                </c:pt>
                <c:pt idx="158">
                  <c:v>1418</c:v>
                </c:pt>
                <c:pt idx="159">
                  <c:v>1374</c:v>
                </c:pt>
                <c:pt idx="160">
                  <c:v>1401</c:v>
                </c:pt>
                <c:pt idx="161">
                  <c:v>1369</c:v>
                </c:pt>
                <c:pt idx="162">
                  <c:v>1387</c:v>
                </c:pt>
                <c:pt idx="163">
                  <c:v>1416</c:v>
                </c:pt>
                <c:pt idx="164">
                  <c:v>1377</c:v>
                </c:pt>
                <c:pt idx="165">
                  <c:v>1317</c:v>
                </c:pt>
                <c:pt idx="166">
                  <c:v>1271</c:v>
                </c:pt>
                <c:pt idx="167">
                  <c:v>1290</c:v>
                </c:pt>
                <c:pt idx="168">
                  <c:v>1281</c:v>
                </c:pt>
                <c:pt idx="169">
                  <c:v>1299</c:v>
                </c:pt>
                <c:pt idx="170">
                  <c:v>1320</c:v>
                </c:pt>
                <c:pt idx="171">
                  <c:v>1296</c:v>
                </c:pt>
                <c:pt idx="172">
                  <c:v>1256</c:v>
                </c:pt>
                <c:pt idx="173">
                  <c:v>1232</c:v>
                </c:pt>
                <c:pt idx="174">
                  <c:v>1268</c:v>
                </c:pt>
                <c:pt idx="175">
                  <c:v>1285</c:v>
                </c:pt>
                <c:pt idx="176">
                  <c:v>1302</c:v>
                </c:pt>
                <c:pt idx="177">
                  <c:v>1328</c:v>
                </c:pt>
                <c:pt idx="178">
                  <c:v>1311</c:v>
                </c:pt>
                <c:pt idx="179">
                  <c:v>1264</c:v>
                </c:pt>
                <c:pt idx="180">
                  <c:v>1229</c:v>
                </c:pt>
                <c:pt idx="181">
                  <c:v>1256</c:v>
                </c:pt>
                <c:pt idx="182">
                  <c:v>1250</c:v>
                </c:pt>
                <c:pt idx="183">
                  <c:v>1291</c:v>
                </c:pt>
                <c:pt idx="184">
                  <c:v>1325</c:v>
                </c:pt>
                <c:pt idx="185">
                  <c:v>1275</c:v>
                </c:pt>
                <c:pt idx="186">
                  <c:v>1222</c:v>
                </c:pt>
                <c:pt idx="187">
                  <c:v>1192</c:v>
                </c:pt>
                <c:pt idx="188">
                  <c:v>1215</c:v>
                </c:pt>
                <c:pt idx="189">
                  <c:v>1200</c:v>
                </c:pt>
                <c:pt idx="190">
                  <c:v>1220</c:v>
                </c:pt>
                <c:pt idx="191">
                  <c:v>1239</c:v>
                </c:pt>
                <c:pt idx="192">
                  <c:v>1256</c:v>
                </c:pt>
                <c:pt idx="193">
                  <c:v>1267</c:v>
                </c:pt>
                <c:pt idx="194">
                  <c:v>1273</c:v>
                </c:pt>
                <c:pt idx="195">
                  <c:v>1314</c:v>
                </c:pt>
                <c:pt idx="196">
                  <c:v>1277</c:v>
                </c:pt>
                <c:pt idx="197">
                  <c:v>1255</c:v>
                </c:pt>
                <c:pt idx="198">
                  <c:v>1214</c:v>
                </c:pt>
                <c:pt idx="199">
                  <c:v>1197</c:v>
                </c:pt>
                <c:pt idx="200">
                  <c:v>1162</c:v>
                </c:pt>
                <c:pt idx="201">
                  <c:v>1156</c:v>
                </c:pt>
                <c:pt idx="202">
                  <c:v>1184</c:v>
                </c:pt>
                <c:pt idx="203">
                  <c:v>1139</c:v>
                </c:pt>
                <c:pt idx="204">
                  <c:v>1112</c:v>
                </c:pt>
                <c:pt idx="205">
                  <c:v>1086</c:v>
                </c:pt>
                <c:pt idx="206">
                  <c:v>1075</c:v>
                </c:pt>
                <c:pt idx="207">
                  <c:v>1051</c:v>
                </c:pt>
                <c:pt idx="208">
                  <c:v>1043</c:v>
                </c:pt>
                <c:pt idx="209">
                  <c:v>1055</c:v>
                </c:pt>
                <c:pt idx="210">
                  <c:v>1044</c:v>
                </c:pt>
                <c:pt idx="211">
                  <c:v>1013</c:v>
                </c:pt>
                <c:pt idx="212">
                  <c:v>1003</c:v>
                </c:pt>
                <c:pt idx="213">
                  <c:v>980</c:v>
                </c:pt>
                <c:pt idx="214">
                  <c:v>963</c:v>
                </c:pt>
                <c:pt idx="215">
                  <c:v>961</c:v>
                </c:pt>
                <c:pt idx="216">
                  <c:v>966</c:v>
                </c:pt>
                <c:pt idx="217">
                  <c:v>950</c:v>
                </c:pt>
                <c:pt idx="218">
                  <c:v>944</c:v>
                </c:pt>
                <c:pt idx="219">
                  <c:v>941</c:v>
                </c:pt>
                <c:pt idx="220">
                  <c:v>935</c:v>
                </c:pt>
                <c:pt idx="221">
                  <c:v>922</c:v>
                </c:pt>
                <c:pt idx="222">
                  <c:v>917</c:v>
                </c:pt>
                <c:pt idx="223">
                  <c:v>923</c:v>
                </c:pt>
                <c:pt idx="224">
                  <c:v>899</c:v>
                </c:pt>
                <c:pt idx="225">
                  <c:v>893</c:v>
                </c:pt>
                <c:pt idx="226">
                  <c:v>886</c:v>
                </c:pt>
                <c:pt idx="227">
                  <c:v>883</c:v>
                </c:pt>
                <c:pt idx="228">
                  <c:v>882</c:v>
                </c:pt>
                <c:pt idx="229">
                  <c:v>879</c:v>
                </c:pt>
                <c:pt idx="230">
                  <c:v>889</c:v>
                </c:pt>
                <c:pt idx="231">
                  <c:v>886</c:v>
                </c:pt>
                <c:pt idx="232">
                  <c:v>861</c:v>
                </c:pt>
                <c:pt idx="233">
                  <c:v>842</c:v>
                </c:pt>
                <c:pt idx="234">
                  <c:v>834</c:v>
                </c:pt>
                <c:pt idx="235">
                  <c:v>827</c:v>
                </c:pt>
                <c:pt idx="236">
                  <c:v>825</c:v>
                </c:pt>
                <c:pt idx="237">
                  <c:v>830</c:v>
                </c:pt>
                <c:pt idx="238">
                  <c:v>828</c:v>
                </c:pt>
                <c:pt idx="239">
                  <c:v>823</c:v>
                </c:pt>
                <c:pt idx="240">
                  <c:v>819</c:v>
                </c:pt>
                <c:pt idx="241">
                  <c:v>816</c:v>
                </c:pt>
                <c:pt idx="242">
                  <c:v>813</c:v>
                </c:pt>
                <c:pt idx="243">
                  <c:v>812</c:v>
                </c:pt>
                <c:pt idx="244">
                  <c:v>816</c:v>
                </c:pt>
                <c:pt idx="245">
                  <c:v>804</c:v>
                </c:pt>
                <c:pt idx="246">
                  <c:v>800</c:v>
                </c:pt>
                <c:pt idx="247">
                  <c:v>801</c:v>
                </c:pt>
                <c:pt idx="248">
                  <c:v>799</c:v>
                </c:pt>
                <c:pt idx="249">
                  <c:v>794</c:v>
                </c:pt>
                <c:pt idx="250">
                  <c:v>792</c:v>
                </c:pt>
                <c:pt idx="251">
                  <c:v>795</c:v>
                </c:pt>
                <c:pt idx="252">
                  <c:v>791</c:v>
                </c:pt>
                <c:pt idx="253">
                  <c:v>787</c:v>
                </c:pt>
                <c:pt idx="254">
                  <c:v>787</c:v>
                </c:pt>
                <c:pt idx="255">
                  <c:v>787</c:v>
                </c:pt>
                <c:pt idx="256">
                  <c:v>784</c:v>
                </c:pt>
                <c:pt idx="257">
                  <c:v>784</c:v>
                </c:pt>
                <c:pt idx="258">
                  <c:v>786</c:v>
                </c:pt>
                <c:pt idx="259">
                  <c:v>788</c:v>
                </c:pt>
                <c:pt idx="260">
                  <c:v>785</c:v>
                </c:pt>
                <c:pt idx="261">
                  <c:v>786</c:v>
                </c:pt>
                <c:pt idx="262">
                  <c:v>786</c:v>
                </c:pt>
                <c:pt idx="263">
                  <c:v>783</c:v>
                </c:pt>
                <c:pt idx="264">
                  <c:v>783</c:v>
                </c:pt>
                <c:pt idx="265">
                  <c:v>785</c:v>
                </c:pt>
                <c:pt idx="266">
                  <c:v>783</c:v>
                </c:pt>
                <c:pt idx="267">
                  <c:v>780</c:v>
                </c:pt>
                <c:pt idx="268">
                  <c:v>780</c:v>
                </c:pt>
                <c:pt idx="269">
                  <c:v>778</c:v>
                </c:pt>
                <c:pt idx="270">
                  <c:v>776</c:v>
                </c:pt>
                <c:pt idx="271">
                  <c:v>776</c:v>
                </c:pt>
                <c:pt idx="272">
                  <c:v>775</c:v>
                </c:pt>
                <c:pt idx="273">
                  <c:v>772</c:v>
                </c:pt>
                <c:pt idx="274">
                  <c:v>769</c:v>
                </c:pt>
                <c:pt idx="275">
                  <c:v>769</c:v>
                </c:pt>
                <c:pt idx="276">
                  <c:v>768</c:v>
                </c:pt>
                <c:pt idx="277">
                  <c:v>768</c:v>
                </c:pt>
                <c:pt idx="278">
                  <c:v>768</c:v>
                </c:pt>
                <c:pt idx="279">
                  <c:v>767</c:v>
                </c:pt>
                <c:pt idx="280">
                  <c:v>765</c:v>
                </c:pt>
                <c:pt idx="281">
                  <c:v>763</c:v>
                </c:pt>
                <c:pt idx="282">
                  <c:v>763</c:v>
                </c:pt>
                <c:pt idx="283">
                  <c:v>763</c:v>
                </c:pt>
                <c:pt idx="284">
                  <c:v>763</c:v>
                </c:pt>
                <c:pt idx="285">
                  <c:v>763</c:v>
                </c:pt>
                <c:pt idx="286">
                  <c:v>763</c:v>
                </c:pt>
                <c:pt idx="287">
                  <c:v>763</c:v>
                </c:pt>
                <c:pt idx="288">
                  <c:v>763</c:v>
                </c:pt>
                <c:pt idx="289">
                  <c:v>762</c:v>
                </c:pt>
                <c:pt idx="290">
                  <c:v>762</c:v>
                </c:pt>
                <c:pt idx="291">
                  <c:v>762</c:v>
                </c:pt>
                <c:pt idx="292">
                  <c:v>762</c:v>
                </c:pt>
                <c:pt idx="293">
                  <c:v>762</c:v>
                </c:pt>
                <c:pt idx="294">
                  <c:v>762</c:v>
                </c:pt>
                <c:pt idx="295">
                  <c:v>762</c:v>
                </c:pt>
                <c:pt idx="296">
                  <c:v>762</c:v>
                </c:pt>
                <c:pt idx="297">
                  <c:v>761</c:v>
                </c:pt>
                <c:pt idx="298">
                  <c:v>761</c:v>
                </c:pt>
                <c:pt idx="299">
                  <c:v>761</c:v>
                </c:pt>
                <c:pt idx="300">
                  <c:v>761</c:v>
                </c:pt>
                <c:pt idx="301">
                  <c:v>761</c:v>
                </c:pt>
                <c:pt idx="302">
                  <c:v>762</c:v>
                </c:pt>
                <c:pt idx="303">
                  <c:v>762</c:v>
                </c:pt>
                <c:pt idx="304">
                  <c:v>762</c:v>
                </c:pt>
                <c:pt idx="305">
                  <c:v>762</c:v>
                </c:pt>
                <c:pt idx="306">
                  <c:v>762</c:v>
                </c:pt>
                <c:pt idx="307">
                  <c:v>762</c:v>
                </c:pt>
                <c:pt idx="308">
                  <c:v>762</c:v>
                </c:pt>
                <c:pt idx="309">
                  <c:v>763</c:v>
                </c:pt>
                <c:pt idx="310">
                  <c:v>764</c:v>
                </c:pt>
                <c:pt idx="311">
                  <c:v>764</c:v>
                </c:pt>
                <c:pt idx="312">
                  <c:v>764</c:v>
                </c:pt>
                <c:pt idx="313">
                  <c:v>765</c:v>
                </c:pt>
                <c:pt idx="314">
                  <c:v>765</c:v>
                </c:pt>
                <c:pt idx="315">
                  <c:v>765</c:v>
                </c:pt>
                <c:pt idx="316">
                  <c:v>765</c:v>
                </c:pt>
                <c:pt idx="317">
                  <c:v>765</c:v>
                </c:pt>
                <c:pt idx="318">
                  <c:v>764</c:v>
                </c:pt>
                <c:pt idx="319">
                  <c:v>764</c:v>
                </c:pt>
                <c:pt idx="320">
                  <c:v>764</c:v>
                </c:pt>
                <c:pt idx="321">
                  <c:v>764</c:v>
                </c:pt>
                <c:pt idx="322">
                  <c:v>764</c:v>
                </c:pt>
                <c:pt idx="323">
                  <c:v>765</c:v>
                </c:pt>
                <c:pt idx="324">
                  <c:v>764</c:v>
                </c:pt>
                <c:pt idx="325">
                  <c:v>764</c:v>
                </c:pt>
                <c:pt idx="326">
                  <c:v>763</c:v>
                </c:pt>
                <c:pt idx="327">
                  <c:v>763</c:v>
                </c:pt>
                <c:pt idx="328">
                  <c:v>762</c:v>
                </c:pt>
                <c:pt idx="329">
                  <c:v>763</c:v>
                </c:pt>
                <c:pt idx="330">
                  <c:v>764</c:v>
                </c:pt>
                <c:pt idx="331">
                  <c:v>764</c:v>
                </c:pt>
                <c:pt idx="332">
                  <c:v>764</c:v>
                </c:pt>
                <c:pt idx="333">
                  <c:v>764</c:v>
                </c:pt>
                <c:pt idx="334">
                  <c:v>764</c:v>
                </c:pt>
                <c:pt idx="335">
                  <c:v>764</c:v>
                </c:pt>
                <c:pt idx="336">
                  <c:v>764</c:v>
                </c:pt>
                <c:pt idx="337">
                  <c:v>764</c:v>
                </c:pt>
                <c:pt idx="338">
                  <c:v>763</c:v>
                </c:pt>
                <c:pt idx="339">
                  <c:v>763</c:v>
                </c:pt>
                <c:pt idx="340">
                  <c:v>763</c:v>
                </c:pt>
                <c:pt idx="341">
                  <c:v>764</c:v>
                </c:pt>
                <c:pt idx="342">
                  <c:v>764</c:v>
                </c:pt>
                <c:pt idx="343">
                  <c:v>763</c:v>
                </c:pt>
                <c:pt idx="344">
                  <c:v>763</c:v>
                </c:pt>
                <c:pt idx="345">
                  <c:v>763</c:v>
                </c:pt>
                <c:pt idx="346">
                  <c:v>763</c:v>
                </c:pt>
                <c:pt idx="347">
                  <c:v>763</c:v>
                </c:pt>
                <c:pt idx="348">
                  <c:v>763</c:v>
                </c:pt>
                <c:pt idx="349">
                  <c:v>763</c:v>
                </c:pt>
                <c:pt idx="350">
                  <c:v>762</c:v>
                </c:pt>
                <c:pt idx="351">
                  <c:v>762</c:v>
                </c:pt>
                <c:pt idx="352">
                  <c:v>762</c:v>
                </c:pt>
                <c:pt idx="353">
                  <c:v>762</c:v>
                </c:pt>
                <c:pt idx="354">
                  <c:v>762</c:v>
                </c:pt>
                <c:pt idx="355">
                  <c:v>762</c:v>
                </c:pt>
                <c:pt idx="356">
                  <c:v>763</c:v>
                </c:pt>
                <c:pt idx="357">
                  <c:v>763</c:v>
                </c:pt>
                <c:pt idx="358">
                  <c:v>763</c:v>
                </c:pt>
                <c:pt idx="359">
                  <c:v>763</c:v>
                </c:pt>
                <c:pt idx="360">
                  <c:v>764</c:v>
                </c:pt>
                <c:pt idx="361">
                  <c:v>764</c:v>
                </c:pt>
                <c:pt idx="362">
                  <c:v>764</c:v>
                </c:pt>
                <c:pt idx="363">
                  <c:v>764</c:v>
                </c:pt>
                <c:pt idx="364">
                  <c:v>764</c:v>
                </c:pt>
                <c:pt idx="365">
                  <c:v>769</c:v>
                </c:pt>
                <c:pt idx="366">
                  <c:v>770</c:v>
                </c:pt>
                <c:pt idx="367">
                  <c:v>771</c:v>
                </c:pt>
                <c:pt idx="368">
                  <c:v>771</c:v>
                </c:pt>
                <c:pt idx="369">
                  <c:v>771</c:v>
                </c:pt>
                <c:pt idx="370">
                  <c:v>772</c:v>
                </c:pt>
                <c:pt idx="371">
                  <c:v>773</c:v>
                </c:pt>
                <c:pt idx="372">
                  <c:v>774</c:v>
                </c:pt>
                <c:pt idx="373">
                  <c:v>775</c:v>
                </c:pt>
                <c:pt idx="374">
                  <c:v>776</c:v>
                </c:pt>
                <c:pt idx="375">
                  <c:v>775</c:v>
                </c:pt>
                <c:pt idx="376">
                  <c:v>774</c:v>
                </c:pt>
                <c:pt idx="377">
                  <c:v>774</c:v>
                </c:pt>
                <c:pt idx="378">
                  <c:v>775</c:v>
                </c:pt>
                <c:pt idx="379">
                  <c:v>774</c:v>
                </c:pt>
                <c:pt idx="380">
                  <c:v>774</c:v>
                </c:pt>
                <c:pt idx="381">
                  <c:v>773</c:v>
                </c:pt>
                <c:pt idx="382">
                  <c:v>771</c:v>
                </c:pt>
                <c:pt idx="383">
                  <c:v>771</c:v>
                </c:pt>
                <c:pt idx="384">
                  <c:v>775</c:v>
                </c:pt>
                <c:pt idx="385">
                  <c:v>778</c:v>
                </c:pt>
                <c:pt idx="386">
                  <c:v>778</c:v>
                </c:pt>
                <c:pt idx="387">
                  <c:v>778</c:v>
                </c:pt>
                <c:pt idx="388">
                  <c:v>778</c:v>
                </c:pt>
                <c:pt idx="389">
                  <c:v>779</c:v>
                </c:pt>
                <c:pt idx="390">
                  <c:v>780</c:v>
                </c:pt>
                <c:pt idx="391">
                  <c:v>784</c:v>
                </c:pt>
                <c:pt idx="392">
                  <c:v>786</c:v>
                </c:pt>
                <c:pt idx="393">
                  <c:v>791</c:v>
                </c:pt>
                <c:pt idx="394">
                  <c:v>792</c:v>
                </c:pt>
                <c:pt idx="395">
                  <c:v>793</c:v>
                </c:pt>
                <c:pt idx="396">
                  <c:v>792</c:v>
                </c:pt>
                <c:pt idx="397">
                  <c:v>791</c:v>
                </c:pt>
                <c:pt idx="398">
                  <c:v>794</c:v>
                </c:pt>
                <c:pt idx="399">
                  <c:v>796</c:v>
                </c:pt>
                <c:pt idx="400">
                  <c:v>796</c:v>
                </c:pt>
                <c:pt idx="401">
                  <c:v>797</c:v>
                </c:pt>
                <c:pt idx="402">
                  <c:v>798</c:v>
                </c:pt>
                <c:pt idx="403">
                  <c:v>799</c:v>
                </c:pt>
                <c:pt idx="404">
                  <c:v>797</c:v>
                </c:pt>
                <c:pt idx="405">
                  <c:v>799</c:v>
                </c:pt>
                <c:pt idx="406">
                  <c:v>795</c:v>
                </c:pt>
                <c:pt idx="407">
                  <c:v>795</c:v>
                </c:pt>
                <c:pt idx="408">
                  <c:v>791</c:v>
                </c:pt>
                <c:pt idx="409">
                  <c:v>797</c:v>
                </c:pt>
                <c:pt idx="410">
                  <c:v>796</c:v>
                </c:pt>
                <c:pt idx="411">
                  <c:v>797</c:v>
                </c:pt>
                <c:pt idx="412">
                  <c:v>809</c:v>
                </c:pt>
                <c:pt idx="413">
                  <c:v>813</c:v>
                </c:pt>
                <c:pt idx="414">
                  <c:v>823</c:v>
                </c:pt>
                <c:pt idx="415">
                  <c:v>825</c:v>
                </c:pt>
                <c:pt idx="416">
                  <c:v>832</c:v>
                </c:pt>
                <c:pt idx="417">
                  <c:v>827</c:v>
                </c:pt>
                <c:pt idx="418">
                  <c:v>831</c:v>
                </c:pt>
                <c:pt idx="419">
                  <c:v>850</c:v>
                </c:pt>
                <c:pt idx="420">
                  <c:v>853</c:v>
                </c:pt>
                <c:pt idx="421">
                  <c:v>868</c:v>
                </c:pt>
                <c:pt idx="422">
                  <c:v>869</c:v>
                </c:pt>
                <c:pt idx="423">
                  <c:v>874</c:v>
                </c:pt>
                <c:pt idx="424">
                  <c:v>874</c:v>
                </c:pt>
                <c:pt idx="425">
                  <c:v>875</c:v>
                </c:pt>
                <c:pt idx="426">
                  <c:v>916</c:v>
                </c:pt>
                <c:pt idx="427">
                  <c:v>927</c:v>
                </c:pt>
                <c:pt idx="428">
                  <c:v>941</c:v>
                </c:pt>
                <c:pt idx="429">
                  <c:v>955</c:v>
                </c:pt>
                <c:pt idx="430">
                  <c:v>973</c:v>
                </c:pt>
                <c:pt idx="431">
                  <c:v>980</c:v>
                </c:pt>
                <c:pt idx="432">
                  <c:v>982</c:v>
                </c:pt>
                <c:pt idx="433">
                  <c:v>1030</c:v>
                </c:pt>
                <c:pt idx="434">
                  <c:v>1046</c:v>
                </c:pt>
                <c:pt idx="435">
                  <c:v>1057</c:v>
                </c:pt>
                <c:pt idx="436">
                  <c:v>1085</c:v>
                </c:pt>
                <c:pt idx="437">
                  <c:v>1114</c:v>
                </c:pt>
                <c:pt idx="438">
                  <c:v>1122</c:v>
                </c:pt>
                <c:pt idx="439">
                  <c:v>1128</c:v>
                </c:pt>
                <c:pt idx="440">
                  <c:v>1178</c:v>
                </c:pt>
                <c:pt idx="441">
                  <c:v>1175</c:v>
                </c:pt>
                <c:pt idx="442">
                  <c:v>1159</c:v>
                </c:pt>
                <c:pt idx="443">
                  <c:v>1176</c:v>
                </c:pt>
                <c:pt idx="444">
                  <c:v>1200</c:v>
                </c:pt>
                <c:pt idx="445">
                  <c:v>1188</c:v>
                </c:pt>
                <c:pt idx="446">
                  <c:v>1184</c:v>
                </c:pt>
                <c:pt idx="447">
                  <c:v>1249</c:v>
                </c:pt>
                <c:pt idx="448">
                  <c:v>1251</c:v>
                </c:pt>
                <c:pt idx="449">
                  <c:v>1262</c:v>
                </c:pt>
                <c:pt idx="450">
                  <c:v>1263</c:v>
                </c:pt>
                <c:pt idx="451">
                  <c:v>1271</c:v>
                </c:pt>
                <c:pt idx="452">
                  <c:v>1259</c:v>
                </c:pt>
                <c:pt idx="453">
                  <c:v>1247</c:v>
                </c:pt>
                <c:pt idx="454">
                  <c:v>1283</c:v>
                </c:pt>
                <c:pt idx="455">
                  <c:v>1264</c:v>
                </c:pt>
                <c:pt idx="456">
                  <c:v>1257</c:v>
                </c:pt>
                <c:pt idx="457">
                  <c:v>1273</c:v>
                </c:pt>
                <c:pt idx="458">
                  <c:v>1236</c:v>
                </c:pt>
                <c:pt idx="459">
                  <c:v>1200</c:v>
                </c:pt>
                <c:pt idx="460">
                  <c:v>1191</c:v>
                </c:pt>
                <c:pt idx="461">
                  <c:v>1226</c:v>
                </c:pt>
                <c:pt idx="462">
                  <c:v>1189</c:v>
                </c:pt>
                <c:pt idx="463">
                  <c:v>1167</c:v>
                </c:pt>
                <c:pt idx="464">
                  <c:v>1128</c:v>
                </c:pt>
                <c:pt idx="465">
                  <c:v>1109</c:v>
                </c:pt>
                <c:pt idx="466">
                  <c:v>1074</c:v>
                </c:pt>
                <c:pt idx="467">
                  <c:v>1069</c:v>
                </c:pt>
                <c:pt idx="468">
                  <c:v>1089</c:v>
                </c:pt>
                <c:pt idx="469">
                  <c:v>1058</c:v>
                </c:pt>
                <c:pt idx="470">
                  <c:v>1027</c:v>
                </c:pt>
                <c:pt idx="471">
                  <c:v>1004</c:v>
                </c:pt>
                <c:pt idx="472">
                  <c:v>980</c:v>
                </c:pt>
                <c:pt idx="473">
                  <c:v>934</c:v>
                </c:pt>
                <c:pt idx="474">
                  <c:v>928</c:v>
                </c:pt>
                <c:pt idx="475">
                  <c:v>942</c:v>
                </c:pt>
                <c:pt idx="476">
                  <c:v>895</c:v>
                </c:pt>
                <c:pt idx="477">
                  <c:v>862</c:v>
                </c:pt>
                <c:pt idx="478">
                  <c:v>828</c:v>
                </c:pt>
                <c:pt idx="479">
                  <c:v>814</c:v>
                </c:pt>
                <c:pt idx="480">
                  <c:v>790</c:v>
                </c:pt>
                <c:pt idx="481">
                  <c:v>781</c:v>
                </c:pt>
                <c:pt idx="482">
                  <c:v>780</c:v>
                </c:pt>
                <c:pt idx="483">
                  <c:v>762</c:v>
                </c:pt>
                <c:pt idx="484">
                  <c:v>730</c:v>
                </c:pt>
                <c:pt idx="485">
                  <c:v>718</c:v>
                </c:pt>
                <c:pt idx="486">
                  <c:v>706</c:v>
                </c:pt>
                <c:pt idx="487">
                  <c:v>685</c:v>
                </c:pt>
                <c:pt idx="488">
                  <c:v>678</c:v>
                </c:pt>
                <c:pt idx="489">
                  <c:v>687</c:v>
                </c:pt>
                <c:pt idx="490">
                  <c:v>673</c:v>
                </c:pt>
                <c:pt idx="491">
                  <c:v>665</c:v>
                </c:pt>
                <c:pt idx="492">
                  <c:v>666</c:v>
                </c:pt>
                <c:pt idx="493">
                  <c:v>669</c:v>
                </c:pt>
                <c:pt idx="494">
                  <c:v>666</c:v>
                </c:pt>
                <c:pt idx="495">
                  <c:v>664</c:v>
                </c:pt>
                <c:pt idx="496">
                  <c:v>680</c:v>
                </c:pt>
                <c:pt idx="497">
                  <c:v>669</c:v>
                </c:pt>
                <c:pt idx="498">
                  <c:v>661</c:v>
                </c:pt>
                <c:pt idx="499">
                  <c:v>656</c:v>
                </c:pt>
                <c:pt idx="500">
                  <c:v>655</c:v>
                </c:pt>
                <c:pt idx="501">
                  <c:v>658</c:v>
                </c:pt>
                <c:pt idx="502">
                  <c:v>668</c:v>
                </c:pt>
                <c:pt idx="503">
                  <c:v>710</c:v>
                </c:pt>
                <c:pt idx="504">
                  <c:v>725</c:v>
                </c:pt>
                <c:pt idx="505">
                  <c:v>755</c:v>
                </c:pt>
                <c:pt idx="506">
                  <c:v>795</c:v>
                </c:pt>
                <c:pt idx="507">
                  <c:v>852</c:v>
                </c:pt>
                <c:pt idx="508">
                  <c:v>845</c:v>
                </c:pt>
                <c:pt idx="509">
                  <c:v>845</c:v>
                </c:pt>
                <c:pt idx="510">
                  <c:v>909</c:v>
                </c:pt>
                <c:pt idx="511">
                  <c:v>973</c:v>
                </c:pt>
                <c:pt idx="512">
                  <c:v>1055</c:v>
                </c:pt>
                <c:pt idx="513">
                  <c:v>1105</c:v>
                </c:pt>
                <c:pt idx="514">
                  <c:v>1123</c:v>
                </c:pt>
                <c:pt idx="515">
                  <c:v>1109</c:v>
                </c:pt>
                <c:pt idx="516">
                  <c:v>1089</c:v>
                </c:pt>
                <c:pt idx="517">
                  <c:v>1147</c:v>
                </c:pt>
                <c:pt idx="518">
                  <c:v>1193</c:v>
                </c:pt>
                <c:pt idx="519">
                  <c:v>1256</c:v>
                </c:pt>
                <c:pt idx="520">
                  <c:v>1293</c:v>
                </c:pt>
                <c:pt idx="521">
                  <c:v>1265</c:v>
                </c:pt>
                <c:pt idx="522">
                  <c:v>1163</c:v>
                </c:pt>
                <c:pt idx="523">
                  <c:v>1068</c:v>
                </c:pt>
                <c:pt idx="524">
                  <c:v>1094</c:v>
                </c:pt>
                <c:pt idx="525">
                  <c:v>1078</c:v>
                </c:pt>
                <c:pt idx="526">
                  <c:v>1104</c:v>
                </c:pt>
                <c:pt idx="527">
                  <c:v>1121</c:v>
                </c:pt>
                <c:pt idx="528">
                  <c:v>1015</c:v>
                </c:pt>
                <c:pt idx="529">
                  <c:v>915</c:v>
                </c:pt>
                <c:pt idx="530">
                  <c:v>835</c:v>
                </c:pt>
                <c:pt idx="531">
                  <c:v>812</c:v>
                </c:pt>
                <c:pt idx="532">
                  <c:v>808</c:v>
                </c:pt>
                <c:pt idx="533">
                  <c:v>826</c:v>
                </c:pt>
                <c:pt idx="534">
                  <c:v>813</c:v>
                </c:pt>
                <c:pt idx="535">
                  <c:v>6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37</c:f>
              <c:numCache>
                <c:formatCode>m/d/yyyy</c:formatCode>
                <c:ptCount val="5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</c:numCache>
            </c:numRef>
          </c:cat>
          <c:val>
            <c:numRef>
              <c:f>List1!$D$2:$D$537</c:f>
              <c:numCache>
                <c:formatCode>General</c:formatCode>
                <c:ptCount val="536"/>
                <c:pt idx="0">
                  <c:v>8</c:v>
                </c:pt>
                <c:pt idx="1">
                  <c:v>7</c:v>
                </c:pt>
                <c:pt idx="2">
                  <c:v>7</c:v>
                </c:pt>
                <c:pt idx="3">
                  <c:v>11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11</c:v>
                </c:pt>
                <c:pt idx="9">
                  <c:v>10</c:v>
                </c:pt>
                <c:pt idx="10">
                  <c:v>10</c:v>
                </c:pt>
                <c:pt idx="11">
                  <c:v>14</c:v>
                </c:pt>
                <c:pt idx="12">
                  <c:v>4</c:v>
                </c:pt>
                <c:pt idx="13">
                  <c:v>7</c:v>
                </c:pt>
                <c:pt idx="14">
                  <c:v>6</c:v>
                </c:pt>
                <c:pt idx="15">
                  <c:v>8</c:v>
                </c:pt>
                <c:pt idx="16">
                  <c:v>9</c:v>
                </c:pt>
                <c:pt idx="17">
                  <c:v>11</c:v>
                </c:pt>
                <c:pt idx="18">
                  <c:v>10</c:v>
                </c:pt>
                <c:pt idx="19">
                  <c:v>15</c:v>
                </c:pt>
                <c:pt idx="20">
                  <c:v>14</c:v>
                </c:pt>
                <c:pt idx="21">
                  <c:v>17</c:v>
                </c:pt>
                <c:pt idx="22">
                  <c:v>15</c:v>
                </c:pt>
                <c:pt idx="23">
                  <c:v>22</c:v>
                </c:pt>
                <c:pt idx="24">
                  <c:v>31</c:v>
                </c:pt>
                <c:pt idx="25">
                  <c:v>40</c:v>
                </c:pt>
                <c:pt idx="26">
                  <c:v>41</c:v>
                </c:pt>
                <c:pt idx="27">
                  <c:v>46</c:v>
                </c:pt>
                <c:pt idx="28">
                  <c:v>69</c:v>
                </c:pt>
                <c:pt idx="29">
                  <c:v>99</c:v>
                </c:pt>
                <c:pt idx="30">
                  <c:v>156</c:v>
                </c:pt>
                <c:pt idx="31">
                  <c:v>301</c:v>
                </c:pt>
                <c:pt idx="32">
                  <c:v>360</c:v>
                </c:pt>
                <c:pt idx="33">
                  <c:v>427</c:v>
                </c:pt>
                <c:pt idx="34">
                  <c:v>673</c:v>
                </c:pt>
                <c:pt idx="35">
                  <c:v>783</c:v>
                </c:pt>
                <c:pt idx="36">
                  <c:v>846</c:v>
                </c:pt>
                <c:pt idx="37">
                  <c:v>997</c:v>
                </c:pt>
                <c:pt idx="38">
                  <c:v>1215</c:v>
                </c:pt>
                <c:pt idx="39">
                  <c:v>1272</c:v>
                </c:pt>
                <c:pt idx="40">
                  <c:v>1256</c:v>
                </c:pt>
                <c:pt idx="41">
                  <c:v>1506</c:v>
                </c:pt>
                <c:pt idx="42">
                  <c:v>1805</c:v>
                </c:pt>
                <c:pt idx="43">
                  <c:v>2107</c:v>
                </c:pt>
                <c:pt idx="44">
                  <c:v>2460</c:v>
                </c:pt>
                <c:pt idx="45">
                  <c:v>2753</c:v>
                </c:pt>
                <c:pt idx="46">
                  <c:v>2897</c:v>
                </c:pt>
                <c:pt idx="47">
                  <c:v>2844</c:v>
                </c:pt>
                <c:pt idx="48">
                  <c:v>3159</c:v>
                </c:pt>
                <c:pt idx="49">
                  <c:v>3418</c:v>
                </c:pt>
                <c:pt idx="50">
                  <c:v>3926</c:v>
                </c:pt>
                <c:pt idx="51">
                  <c:v>4250</c:v>
                </c:pt>
                <c:pt idx="52">
                  <c:v>4809</c:v>
                </c:pt>
                <c:pt idx="53">
                  <c:v>4963</c:v>
                </c:pt>
                <c:pt idx="54">
                  <c:v>4974</c:v>
                </c:pt>
                <c:pt idx="55">
                  <c:v>5322</c:v>
                </c:pt>
                <c:pt idx="56">
                  <c:v>5852</c:v>
                </c:pt>
                <c:pt idx="57">
                  <c:v>5892</c:v>
                </c:pt>
                <c:pt idx="58">
                  <c:v>6744</c:v>
                </c:pt>
                <c:pt idx="59">
                  <c:v>7185</c:v>
                </c:pt>
                <c:pt idx="60">
                  <c:v>7185</c:v>
                </c:pt>
                <c:pt idx="61">
                  <c:v>6920</c:v>
                </c:pt>
                <c:pt idx="62">
                  <c:v>7016</c:v>
                </c:pt>
                <c:pt idx="63">
                  <c:v>6887</c:v>
                </c:pt>
                <c:pt idx="64">
                  <c:v>7296</c:v>
                </c:pt>
                <c:pt idx="65">
                  <c:v>7810</c:v>
                </c:pt>
                <c:pt idx="66">
                  <c:v>7489</c:v>
                </c:pt>
                <c:pt idx="67">
                  <c:v>6889</c:v>
                </c:pt>
                <c:pt idx="68">
                  <c:v>6709</c:v>
                </c:pt>
                <c:pt idx="69">
                  <c:v>6319</c:v>
                </c:pt>
                <c:pt idx="70">
                  <c:v>6056</c:v>
                </c:pt>
                <c:pt idx="71">
                  <c:v>6602</c:v>
                </c:pt>
                <c:pt idx="72">
                  <c:v>7117</c:v>
                </c:pt>
                <c:pt idx="73">
                  <c:v>7067</c:v>
                </c:pt>
                <c:pt idx="74">
                  <c:v>6521</c:v>
                </c:pt>
                <c:pt idx="75">
                  <c:v>6169</c:v>
                </c:pt>
                <c:pt idx="76">
                  <c:v>6156</c:v>
                </c:pt>
                <c:pt idx="77">
                  <c:v>5784</c:v>
                </c:pt>
                <c:pt idx="78">
                  <c:v>6077</c:v>
                </c:pt>
                <c:pt idx="79">
                  <c:v>6304</c:v>
                </c:pt>
                <c:pt idx="80">
                  <c:v>6312</c:v>
                </c:pt>
                <c:pt idx="81">
                  <c:v>5678</c:v>
                </c:pt>
                <c:pt idx="82">
                  <c:v>5217</c:v>
                </c:pt>
                <c:pt idx="83">
                  <c:v>5331</c:v>
                </c:pt>
                <c:pt idx="84">
                  <c:v>4983</c:v>
                </c:pt>
                <c:pt idx="85">
                  <c:v>5003</c:v>
                </c:pt>
                <c:pt idx="86">
                  <c:v>5119</c:v>
                </c:pt>
                <c:pt idx="87">
                  <c:v>4837</c:v>
                </c:pt>
                <c:pt idx="88">
                  <c:v>4764</c:v>
                </c:pt>
                <c:pt idx="89">
                  <c:v>4363</c:v>
                </c:pt>
                <c:pt idx="90">
                  <c:v>4244</c:v>
                </c:pt>
                <c:pt idx="91">
                  <c:v>4054</c:v>
                </c:pt>
                <c:pt idx="92">
                  <c:v>4139</c:v>
                </c:pt>
                <c:pt idx="93">
                  <c:v>4237</c:v>
                </c:pt>
                <c:pt idx="94">
                  <c:v>4068</c:v>
                </c:pt>
                <c:pt idx="95">
                  <c:v>3835</c:v>
                </c:pt>
                <c:pt idx="96">
                  <c:v>3611</c:v>
                </c:pt>
                <c:pt idx="97">
                  <c:v>3623</c:v>
                </c:pt>
                <c:pt idx="98">
                  <c:v>3470</c:v>
                </c:pt>
                <c:pt idx="99">
                  <c:v>3564</c:v>
                </c:pt>
                <c:pt idx="100">
                  <c:v>3662</c:v>
                </c:pt>
                <c:pt idx="101">
                  <c:v>3634</c:v>
                </c:pt>
                <c:pt idx="102">
                  <c:v>3467</c:v>
                </c:pt>
                <c:pt idx="103">
                  <c:v>3380</c:v>
                </c:pt>
                <c:pt idx="104">
                  <c:v>3435</c:v>
                </c:pt>
                <c:pt idx="105">
                  <c:v>3421</c:v>
                </c:pt>
                <c:pt idx="106">
                  <c:v>3493</c:v>
                </c:pt>
                <c:pt idx="107">
                  <c:v>3533</c:v>
                </c:pt>
                <c:pt idx="108">
                  <c:v>3537</c:v>
                </c:pt>
                <c:pt idx="109">
                  <c:v>3356</c:v>
                </c:pt>
                <c:pt idx="110">
                  <c:v>3243</c:v>
                </c:pt>
                <c:pt idx="111">
                  <c:v>3399</c:v>
                </c:pt>
                <c:pt idx="112">
                  <c:v>3462</c:v>
                </c:pt>
                <c:pt idx="113">
                  <c:v>3579</c:v>
                </c:pt>
                <c:pt idx="114">
                  <c:v>3563</c:v>
                </c:pt>
                <c:pt idx="115">
                  <c:v>3413</c:v>
                </c:pt>
                <c:pt idx="116">
                  <c:v>3346</c:v>
                </c:pt>
                <c:pt idx="117">
                  <c:v>3316</c:v>
                </c:pt>
                <c:pt idx="118">
                  <c:v>3478</c:v>
                </c:pt>
                <c:pt idx="119">
                  <c:v>3613</c:v>
                </c:pt>
                <c:pt idx="120">
                  <c:v>3788</c:v>
                </c:pt>
                <c:pt idx="121">
                  <c:v>3945</c:v>
                </c:pt>
                <c:pt idx="122">
                  <c:v>3717</c:v>
                </c:pt>
                <c:pt idx="123">
                  <c:v>3615</c:v>
                </c:pt>
                <c:pt idx="124">
                  <c:v>3383</c:v>
                </c:pt>
                <c:pt idx="125">
                  <c:v>3888</c:v>
                </c:pt>
                <c:pt idx="126">
                  <c:v>4104</c:v>
                </c:pt>
                <c:pt idx="127">
                  <c:v>4276</c:v>
                </c:pt>
                <c:pt idx="128">
                  <c:v>4488</c:v>
                </c:pt>
                <c:pt idx="129">
                  <c:v>4399</c:v>
                </c:pt>
                <c:pt idx="130">
                  <c:v>4155</c:v>
                </c:pt>
                <c:pt idx="131">
                  <c:v>3886</c:v>
                </c:pt>
                <c:pt idx="132">
                  <c:v>4189</c:v>
                </c:pt>
                <c:pt idx="133">
                  <c:v>4338</c:v>
                </c:pt>
                <c:pt idx="134">
                  <c:v>4516</c:v>
                </c:pt>
                <c:pt idx="135">
                  <c:v>4568</c:v>
                </c:pt>
                <c:pt idx="136">
                  <c:v>4345</c:v>
                </c:pt>
                <c:pt idx="137">
                  <c:v>4008</c:v>
                </c:pt>
                <c:pt idx="138">
                  <c:v>3744</c:v>
                </c:pt>
                <c:pt idx="139">
                  <c:v>3689</c:v>
                </c:pt>
                <c:pt idx="140">
                  <c:v>3524</c:v>
                </c:pt>
                <c:pt idx="141">
                  <c:v>3642</c:v>
                </c:pt>
                <c:pt idx="142">
                  <c:v>3749</c:v>
                </c:pt>
                <c:pt idx="143">
                  <c:v>3529</c:v>
                </c:pt>
                <c:pt idx="144">
                  <c:v>3383</c:v>
                </c:pt>
                <c:pt idx="145">
                  <c:v>3175</c:v>
                </c:pt>
                <c:pt idx="146">
                  <c:v>3148</c:v>
                </c:pt>
                <c:pt idx="147">
                  <c:v>3101</c:v>
                </c:pt>
                <c:pt idx="148">
                  <c:v>3179</c:v>
                </c:pt>
                <c:pt idx="149">
                  <c:v>3227</c:v>
                </c:pt>
                <c:pt idx="150">
                  <c:v>3004</c:v>
                </c:pt>
                <c:pt idx="151">
                  <c:v>2893</c:v>
                </c:pt>
                <c:pt idx="152">
                  <c:v>2683</c:v>
                </c:pt>
                <c:pt idx="153">
                  <c:v>2735</c:v>
                </c:pt>
                <c:pt idx="154">
                  <c:v>2756</c:v>
                </c:pt>
                <c:pt idx="155">
                  <c:v>2850</c:v>
                </c:pt>
                <c:pt idx="156">
                  <c:v>2905</c:v>
                </c:pt>
                <c:pt idx="157">
                  <c:v>2818</c:v>
                </c:pt>
                <c:pt idx="158">
                  <c:v>2687</c:v>
                </c:pt>
                <c:pt idx="159">
                  <c:v>2587</c:v>
                </c:pt>
                <c:pt idx="160">
                  <c:v>2630</c:v>
                </c:pt>
                <c:pt idx="161">
                  <c:v>2591</c:v>
                </c:pt>
                <c:pt idx="162">
                  <c:v>2648</c:v>
                </c:pt>
                <c:pt idx="163">
                  <c:v>2727</c:v>
                </c:pt>
                <c:pt idx="164">
                  <c:v>2649</c:v>
                </c:pt>
                <c:pt idx="165">
                  <c:v>2468</c:v>
                </c:pt>
                <c:pt idx="166">
                  <c:v>2332</c:v>
                </c:pt>
                <c:pt idx="167">
                  <c:v>2329</c:v>
                </c:pt>
                <c:pt idx="168">
                  <c:v>2237</c:v>
                </c:pt>
                <c:pt idx="169">
                  <c:v>2233</c:v>
                </c:pt>
                <c:pt idx="170">
                  <c:v>2271</c:v>
                </c:pt>
                <c:pt idx="171">
                  <c:v>2186</c:v>
                </c:pt>
                <c:pt idx="172">
                  <c:v>2084</c:v>
                </c:pt>
                <c:pt idx="173">
                  <c:v>1990</c:v>
                </c:pt>
                <c:pt idx="174">
                  <c:v>2071</c:v>
                </c:pt>
                <c:pt idx="175">
                  <c:v>2061</c:v>
                </c:pt>
                <c:pt idx="176">
                  <c:v>2088</c:v>
                </c:pt>
                <c:pt idx="177">
                  <c:v>2144</c:v>
                </c:pt>
                <c:pt idx="178">
                  <c:v>2115</c:v>
                </c:pt>
                <c:pt idx="179">
                  <c:v>2035</c:v>
                </c:pt>
                <c:pt idx="180">
                  <c:v>1980</c:v>
                </c:pt>
                <c:pt idx="181">
                  <c:v>2055</c:v>
                </c:pt>
                <c:pt idx="182">
                  <c:v>2015</c:v>
                </c:pt>
                <c:pt idx="183">
                  <c:v>2063</c:v>
                </c:pt>
                <c:pt idx="184">
                  <c:v>2091</c:v>
                </c:pt>
                <c:pt idx="185">
                  <c:v>1974</c:v>
                </c:pt>
                <c:pt idx="186">
                  <c:v>1892</c:v>
                </c:pt>
                <c:pt idx="187">
                  <c:v>1819</c:v>
                </c:pt>
                <c:pt idx="188">
                  <c:v>1835</c:v>
                </c:pt>
                <c:pt idx="189">
                  <c:v>1866</c:v>
                </c:pt>
                <c:pt idx="190">
                  <c:v>1930</c:v>
                </c:pt>
                <c:pt idx="191">
                  <c:v>1949</c:v>
                </c:pt>
                <c:pt idx="192">
                  <c:v>1995</c:v>
                </c:pt>
                <c:pt idx="193">
                  <c:v>2003</c:v>
                </c:pt>
                <c:pt idx="194">
                  <c:v>2010</c:v>
                </c:pt>
                <c:pt idx="195">
                  <c:v>2075</c:v>
                </c:pt>
                <c:pt idx="196">
                  <c:v>1975</c:v>
                </c:pt>
                <c:pt idx="197">
                  <c:v>1936</c:v>
                </c:pt>
                <c:pt idx="198">
                  <c:v>1880</c:v>
                </c:pt>
                <c:pt idx="199">
                  <c:v>1863</c:v>
                </c:pt>
                <c:pt idx="200">
                  <c:v>1808</c:v>
                </c:pt>
                <c:pt idx="201">
                  <c:v>1801</c:v>
                </c:pt>
                <c:pt idx="202">
                  <c:v>1835</c:v>
                </c:pt>
                <c:pt idx="203">
                  <c:v>1792</c:v>
                </c:pt>
                <c:pt idx="204">
                  <c:v>1730</c:v>
                </c:pt>
                <c:pt idx="205">
                  <c:v>1700</c:v>
                </c:pt>
                <c:pt idx="206">
                  <c:v>1671</c:v>
                </c:pt>
                <c:pt idx="207">
                  <c:v>1613</c:v>
                </c:pt>
                <c:pt idx="208">
                  <c:v>1604</c:v>
                </c:pt>
                <c:pt idx="209">
                  <c:v>1630</c:v>
                </c:pt>
                <c:pt idx="210">
                  <c:v>1588</c:v>
                </c:pt>
                <c:pt idx="211">
                  <c:v>1550</c:v>
                </c:pt>
                <c:pt idx="212">
                  <c:v>1525</c:v>
                </c:pt>
                <c:pt idx="213">
                  <c:v>1473</c:v>
                </c:pt>
                <c:pt idx="214">
                  <c:v>1446</c:v>
                </c:pt>
                <c:pt idx="215">
                  <c:v>1442</c:v>
                </c:pt>
                <c:pt idx="216">
                  <c:v>1445</c:v>
                </c:pt>
                <c:pt idx="217">
                  <c:v>1399</c:v>
                </c:pt>
                <c:pt idx="218">
                  <c:v>1391</c:v>
                </c:pt>
                <c:pt idx="219">
                  <c:v>1373</c:v>
                </c:pt>
                <c:pt idx="220">
                  <c:v>1337</c:v>
                </c:pt>
                <c:pt idx="221">
                  <c:v>1319</c:v>
                </c:pt>
                <c:pt idx="222">
                  <c:v>1313</c:v>
                </c:pt>
                <c:pt idx="223">
                  <c:v>1319</c:v>
                </c:pt>
                <c:pt idx="224">
                  <c:v>1284</c:v>
                </c:pt>
                <c:pt idx="225">
                  <c:v>1257</c:v>
                </c:pt>
                <c:pt idx="226">
                  <c:v>1240</c:v>
                </c:pt>
                <c:pt idx="227">
                  <c:v>1221</c:v>
                </c:pt>
                <c:pt idx="228">
                  <c:v>1218</c:v>
                </c:pt>
                <c:pt idx="229">
                  <c:v>1217</c:v>
                </c:pt>
                <c:pt idx="230">
                  <c:v>1231</c:v>
                </c:pt>
                <c:pt idx="231">
                  <c:v>1223</c:v>
                </c:pt>
                <c:pt idx="232">
                  <c:v>1190</c:v>
                </c:pt>
                <c:pt idx="233">
                  <c:v>1172</c:v>
                </c:pt>
                <c:pt idx="234">
                  <c:v>1168</c:v>
                </c:pt>
                <c:pt idx="235">
                  <c:v>1153</c:v>
                </c:pt>
                <c:pt idx="236">
                  <c:v>1150</c:v>
                </c:pt>
                <c:pt idx="237">
                  <c:v>1156</c:v>
                </c:pt>
                <c:pt idx="238">
                  <c:v>1153</c:v>
                </c:pt>
                <c:pt idx="239">
                  <c:v>1146</c:v>
                </c:pt>
                <c:pt idx="240">
                  <c:v>1141</c:v>
                </c:pt>
                <c:pt idx="241">
                  <c:v>1138</c:v>
                </c:pt>
                <c:pt idx="242">
                  <c:v>1129</c:v>
                </c:pt>
                <c:pt idx="243">
                  <c:v>1128</c:v>
                </c:pt>
                <c:pt idx="244">
                  <c:v>1134</c:v>
                </c:pt>
                <c:pt idx="245">
                  <c:v>1117</c:v>
                </c:pt>
                <c:pt idx="246">
                  <c:v>1110</c:v>
                </c:pt>
                <c:pt idx="247">
                  <c:v>1103</c:v>
                </c:pt>
                <c:pt idx="248">
                  <c:v>1100</c:v>
                </c:pt>
                <c:pt idx="249">
                  <c:v>1089</c:v>
                </c:pt>
                <c:pt idx="250">
                  <c:v>1090</c:v>
                </c:pt>
                <c:pt idx="251">
                  <c:v>1097</c:v>
                </c:pt>
                <c:pt idx="252">
                  <c:v>1093</c:v>
                </c:pt>
                <c:pt idx="253">
                  <c:v>1086</c:v>
                </c:pt>
                <c:pt idx="254">
                  <c:v>1086</c:v>
                </c:pt>
                <c:pt idx="255">
                  <c:v>1086</c:v>
                </c:pt>
                <c:pt idx="256">
                  <c:v>1079</c:v>
                </c:pt>
                <c:pt idx="257">
                  <c:v>1078</c:v>
                </c:pt>
                <c:pt idx="258">
                  <c:v>1082</c:v>
                </c:pt>
                <c:pt idx="259">
                  <c:v>1080</c:v>
                </c:pt>
                <c:pt idx="260">
                  <c:v>1079</c:v>
                </c:pt>
                <c:pt idx="261">
                  <c:v>1077</c:v>
                </c:pt>
                <c:pt idx="262">
                  <c:v>1077</c:v>
                </c:pt>
                <c:pt idx="263">
                  <c:v>1073</c:v>
                </c:pt>
                <c:pt idx="264">
                  <c:v>1072</c:v>
                </c:pt>
                <c:pt idx="265">
                  <c:v>1075</c:v>
                </c:pt>
                <c:pt idx="266">
                  <c:v>1072</c:v>
                </c:pt>
                <c:pt idx="267">
                  <c:v>1068</c:v>
                </c:pt>
                <c:pt idx="268">
                  <c:v>1066</c:v>
                </c:pt>
                <c:pt idx="269">
                  <c:v>1063</c:v>
                </c:pt>
                <c:pt idx="270">
                  <c:v>1061</c:v>
                </c:pt>
                <c:pt idx="271">
                  <c:v>1058</c:v>
                </c:pt>
                <c:pt idx="272">
                  <c:v>1057</c:v>
                </c:pt>
                <c:pt idx="273">
                  <c:v>1052</c:v>
                </c:pt>
                <c:pt idx="274">
                  <c:v>1052</c:v>
                </c:pt>
                <c:pt idx="275">
                  <c:v>1048</c:v>
                </c:pt>
                <c:pt idx="276">
                  <c:v>1042</c:v>
                </c:pt>
                <c:pt idx="277">
                  <c:v>1041</c:v>
                </c:pt>
                <c:pt idx="278">
                  <c:v>1041</c:v>
                </c:pt>
                <c:pt idx="279">
                  <c:v>1041</c:v>
                </c:pt>
                <c:pt idx="280">
                  <c:v>1039</c:v>
                </c:pt>
                <c:pt idx="281">
                  <c:v>1036</c:v>
                </c:pt>
                <c:pt idx="282">
                  <c:v>1035</c:v>
                </c:pt>
                <c:pt idx="283">
                  <c:v>1036</c:v>
                </c:pt>
                <c:pt idx="284">
                  <c:v>1033</c:v>
                </c:pt>
                <c:pt idx="285">
                  <c:v>1033</c:v>
                </c:pt>
                <c:pt idx="286">
                  <c:v>1033</c:v>
                </c:pt>
                <c:pt idx="287">
                  <c:v>1033</c:v>
                </c:pt>
                <c:pt idx="288">
                  <c:v>1033</c:v>
                </c:pt>
                <c:pt idx="289">
                  <c:v>1032</c:v>
                </c:pt>
                <c:pt idx="290">
                  <c:v>1032</c:v>
                </c:pt>
                <c:pt idx="291">
                  <c:v>1032</c:v>
                </c:pt>
                <c:pt idx="292">
                  <c:v>1032</c:v>
                </c:pt>
                <c:pt idx="293">
                  <c:v>1032</c:v>
                </c:pt>
                <c:pt idx="294">
                  <c:v>1032</c:v>
                </c:pt>
                <c:pt idx="295">
                  <c:v>1033</c:v>
                </c:pt>
                <c:pt idx="296">
                  <c:v>1033</c:v>
                </c:pt>
                <c:pt idx="297">
                  <c:v>1031</c:v>
                </c:pt>
                <c:pt idx="298">
                  <c:v>1031</c:v>
                </c:pt>
                <c:pt idx="299">
                  <c:v>1031</c:v>
                </c:pt>
                <c:pt idx="300">
                  <c:v>1031</c:v>
                </c:pt>
                <c:pt idx="301">
                  <c:v>1031</c:v>
                </c:pt>
                <c:pt idx="302">
                  <c:v>1031</c:v>
                </c:pt>
                <c:pt idx="303">
                  <c:v>1032</c:v>
                </c:pt>
                <c:pt idx="304">
                  <c:v>1030</c:v>
                </c:pt>
                <c:pt idx="305">
                  <c:v>1030</c:v>
                </c:pt>
                <c:pt idx="306">
                  <c:v>1031</c:v>
                </c:pt>
                <c:pt idx="307">
                  <c:v>1031</c:v>
                </c:pt>
                <c:pt idx="308">
                  <c:v>1031</c:v>
                </c:pt>
                <c:pt idx="309">
                  <c:v>1032</c:v>
                </c:pt>
                <c:pt idx="310">
                  <c:v>1032</c:v>
                </c:pt>
                <c:pt idx="311">
                  <c:v>1032</c:v>
                </c:pt>
                <c:pt idx="312">
                  <c:v>1032</c:v>
                </c:pt>
                <c:pt idx="313">
                  <c:v>1033</c:v>
                </c:pt>
                <c:pt idx="314">
                  <c:v>1033</c:v>
                </c:pt>
                <c:pt idx="315">
                  <c:v>1033</c:v>
                </c:pt>
                <c:pt idx="316">
                  <c:v>1033</c:v>
                </c:pt>
                <c:pt idx="317">
                  <c:v>1033</c:v>
                </c:pt>
                <c:pt idx="318">
                  <c:v>1032</c:v>
                </c:pt>
                <c:pt idx="319">
                  <c:v>1032</c:v>
                </c:pt>
                <c:pt idx="320">
                  <c:v>1032</c:v>
                </c:pt>
                <c:pt idx="321">
                  <c:v>1032</c:v>
                </c:pt>
                <c:pt idx="322">
                  <c:v>1031</c:v>
                </c:pt>
                <c:pt idx="323">
                  <c:v>1032</c:v>
                </c:pt>
                <c:pt idx="324">
                  <c:v>1031</c:v>
                </c:pt>
                <c:pt idx="325">
                  <c:v>1031</c:v>
                </c:pt>
                <c:pt idx="326">
                  <c:v>1031</c:v>
                </c:pt>
                <c:pt idx="327">
                  <c:v>1030</c:v>
                </c:pt>
                <c:pt idx="328">
                  <c:v>1029</c:v>
                </c:pt>
                <c:pt idx="329">
                  <c:v>1030</c:v>
                </c:pt>
                <c:pt idx="330">
                  <c:v>1031</c:v>
                </c:pt>
                <c:pt idx="331">
                  <c:v>1031</c:v>
                </c:pt>
                <c:pt idx="332">
                  <c:v>1030</c:v>
                </c:pt>
                <c:pt idx="333">
                  <c:v>1030</c:v>
                </c:pt>
                <c:pt idx="334">
                  <c:v>1030</c:v>
                </c:pt>
                <c:pt idx="335">
                  <c:v>1030</c:v>
                </c:pt>
                <c:pt idx="336">
                  <c:v>1029</c:v>
                </c:pt>
                <c:pt idx="337">
                  <c:v>1029</c:v>
                </c:pt>
                <c:pt idx="338">
                  <c:v>1028</c:v>
                </c:pt>
                <c:pt idx="339">
                  <c:v>1028</c:v>
                </c:pt>
                <c:pt idx="340">
                  <c:v>1028</c:v>
                </c:pt>
                <c:pt idx="341">
                  <c:v>1029</c:v>
                </c:pt>
                <c:pt idx="342">
                  <c:v>1029</c:v>
                </c:pt>
                <c:pt idx="343">
                  <c:v>1028</c:v>
                </c:pt>
                <c:pt idx="344">
                  <c:v>1028</c:v>
                </c:pt>
                <c:pt idx="345">
                  <c:v>1028</c:v>
                </c:pt>
                <c:pt idx="346">
                  <c:v>1028</c:v>
                </c:pt>
                <c:pt idx="347">
                  <c:v>1028</c:v>
                </c:pt>
                <c:pt idx="348">
                  <c:v>1028</c:v>
                </c:pt>
                <c:pt idx="349">
                  <c:v>1029</c:v>
                </c:pt>
                <c:pt idx="350">
                  <c:v>1029</c:v>
                </c:pt>
                <c:pt idx="351">
                  <c:v>1029</c:v>
                </c:pt>
                <c:pt idx="352">
                  <c:v>1030</c:v>
                </c:pt>
                <c:pt idx="353">
                  <c:v>1029</c:v>
                </c:pt>
                <c:pt idx="354">
                  <c:v>1029</c:v>
                </c:pt>
                <c:pt idx="355">
                  <c:v>1029</c:v>
                </c:pt>
                <c:pt idx="356">
                  <c:v>1032</c:v>
                </c:pt>
                <c:pt idx="357">
                  <c:v>1032</c:v>
                </c:pt>
                <c:pt idx="358">
                  <c:v>1032</c:v>
                </c:pt>
                <c:pt idx="359">
                  <c:v>1032</c:v>
                </c:pt>
                <c:pt idx="360">
                  <c:v>1033</c:v>
                </c:pt>
                <c:pt idx="361">
                  <c:v>1032</c:v>
                </c:pt>
                <c:pt idx="362">
                  <c:v>1032</c:v>
                </c:pt>
                <c:pt idx="363">
                  <c:v>1032</c:v>
                </c:pt>
                <c:pt idx="364">
                  <c:v>1032</c:v>
                </c:pt>
                <c:pt idx="365">
                  <c:v>1038</c:v>
                </c:pt>
                <c:pt idx="366">
                  <c:v>1043</c:v>
                </c:pt>
                <c:pt idx="367">
                  <c:v>1046</c:v>
                </c:pt>
                <c:pt idx="368">
                  <c:v>1047</c:v>
                </c:pt>
                <c:pt idx="369">
                  <c:v>1046</c:v>
                </c:pt>
                <c:pt idx="370">
                  <c:v>1051</c:v>
                </c:pt>
                <c:pt idx="371">
                  <c:v>1049</c:v>
                </c:pt>
                <c:pt idx="372">
                  <c:v>1050</c:v>
                </c:pt>
                <c:pt idx="373">
                  <c:v>1051</c:v>
                </c:pt>
                <c:pt idx="374">
                  <c:v>1052</c:v>
                </c:pt>
                <c:pt idx="375">
                  <c:v>1051</c:v>
                </c:pt>
                <c:pt idx="376">
                  <c:v>1050</c:v>
                </c:pt>
                <c:pt idx="377">
                  <c:v>1051</c:v>
                </c:pt>
                <c:pt idx="378">
                  <c:v>1052</c:v>
                </c:pt>
                <c:pt idx="379">
                  <c:v>1051</c:v>
                </c:pt>
                <c:pt idx="380">
                  <c:v>1050</c:v>
                </c:pt>
                <c:pt idx="381">
                  <c:v>1047</c:v>
                </c:pt>
                <c:pt idx="382">
                  <c:v>1045</c:v>
                </c:pt>
                <c:pt idx="383">
                  <c:v>1045</c:v>
                </c:pt>
                <c:pt idx="384">
                  <c:v>1050</c:v>
                </c:pt>
                <c:pt idx="385">
                  <c:v>1050</c:v>
                </c:pt>
                <c:pt idx="386">
                  <c:v>1050</c:v>
                </c:pt>
                <c:pt idx="387">
                  <c:v>1048</c:v>
                </c:pt>
                <c:pt idx="388">
                  <c:v>1048</c:v>
                </c:pt>
                <c:pt idx="389">
                  <c:v>1049</c:v>
                </c:pt>
                <c:pt idx="390">
                  <c:v>1050</c:v>
                </c:pt>
                <c:pt idx="391">
                  <c:v>1056</c:v>
                </c:pt>
                <c:pt idx="392">
                  <c:v>1056</c:v>
                </c:pt>
                <c:pt idx="393">
                  <c:v>1062</c:v>
                </c:pt>
                <c:pt idx="394">
                  <c:v>1063</c:v>
                </c:pt>
                <c:pt idx="395">
                  <c:v>1065</c:v>
                </c:pt>
                <c:pt idx="396">
                  <c:v>1065</c:v>
                </c:pt>
                <c:pt idx="397">
                  <c:v>1065</c:v>
                </c:pt>
                <c:pt idx="398">
                  <c:v>1070</c:v>
                </c:pt>
                <c:pt idx="399">
                  <c:v>1074</c:v>
                </c:pt>
                <c:pt idx="400">
                  <c:v>1082</c:v>
                </c:pt>
                <c:pt idx="401">
                  <c:v>1082</c:v>
                </c:pt>
                <c:pt idx="402">
                  <c:v>1108</c:v>
                </c:pt>
                <c:pt idx="403">
                  <c:v>1109</c:v>
                </c:pt>
                <c:pt idx="404">
                  <c:v>1107</c:v>
                </c:pt>
                <c:pt idx="405">
                  <c:v>1110</c:v>
                </c:pt>
                <c:pt idx="406">
                  <c:v>1107</c:v>
                </c:pt>
                <c:pt idx="407">
                  <c:v>1125</c:v>
                </c:pt>
                <c:pt idx="408">
                  <c:v>1123</c:v>
                </c:pt>
                <c:pt idx="409">
                  <c:v>1129</c:v>
                </c:pt>
                <c:pt idx="410">
                  <c:v>1128</c:v>
                </c:pt>
                <c:pt idx="411">
                  <c:v>1128</c:v>
                </c:pt>
                <c:pt idx="412">
                  <c:v>1144</c:v>
                </c:pt>
                <c:pt idx="413">
                  <c:v>1149</c:v>
                </c:pt>
                <c:pt idx="414">
                  <c:v>1153</c:v>
                </c:pt>
                <c:pt idx="415">
                  <c:v>1155</c:v>
                </c:pt>
                <c:pt idx="416">
                  <c:v>1145</c:v>
                </c:pt>
                <c:pt idx="417">
                  <c:v>1139</c:v>
                </c:pt>
                <c:pt idx="418">
                  <c:v>1141</c:v>
                </c:pt>
                <c:pt idx="419">
                  <c:v>1173</c:v>
                </c:pt>
                <c:pt idx="420">
                  <c:v>1184</c:v>
                </c:pt>
                <c:pt idx="421">
                  <c:v>1207</c:v>
                </c:pt>
                <c:pt idx="422">
                  <c:v>1192</c:v>
                </c:pt>
                <c:pt idx="423">
                  <c:v>1215</c:v>
                </c:pt>
                <c:pt idx="424">
                  <c:v>1218</c:v>
                </c:pt>
                <c:pt idx="425">
                  <c:v>1228</c:v>
                </c:pt>
                <c:pt idx="426">
                  <c:v>1304</c:v>
                </c:pt>
                <c:pt idx="427">
                  <c:v>1327</c:v>
                </c:pt>
                <c:pt idx="428">
                  <c:v>1345</c:v>
                </c:pt>
                <c:pt idx="429">
                  <c:v>1407</c:v>
                </c:pt>
                <c:pt idx="430">
                  <c:v>1444</c:v>
                </c:pt>
                <c:pt idx="431">
                  <c:v>1445</c:v>
                </c:pt>
                <c:pt idx="432">
                  <c:v>1446</c:v>
                </c:pt>
                <c:pt idx="433">
                  <c:v>1519</c:v>
                </c:pt>
                <c:pt idx="434">
                  <c:v>1549</c:v>
                </c:pt>
                <c:pt idx="435">
                  <c:v>1567</c:v>
                </c:pt>
                <c:pt idx="436">
                  <c:v>1602</c:v>
                </c:pt>
                <c:pt idx="437">
                  <c:v>1643</c:v>
                </c:pt>
                <c:pt idx="438">
                  <c:v>1648</c:v>
                </c:pt>
                <c:pt idx="439">
                  <c:v>1659</c:v>
                </c:pt>
                <c:pt idx="440">
                  <c:v>1739</c:v>
                </c:pt>
                <c:pt idx="441">
                  <c:v>1738</c:v>
                </c:pt>
                <c:pt idx="442">
                  <c:v>1726</c:v>
                </c:pt>
                <c:pt idx="443">
                  <c:v>1773</c:v>
                </c:pt>
                <c:pt idx="444">
                  <c:v>1852</c:v>
                </c:pt>
                <c:pt idx="445">
                  <c:v>1843</c:v>
                </c:pt>
                <c:pt idx="446">
                  <c:v>1837</c:v>
                </c:pt>
                <c:pt idx="447">
                  <c:v>1944</c:v>
                </c:pt>
                <c:pt idx="448">
                  <c:v>1931</c:v>
                </c:pt>
                <c:pt idx="449">
                  <c:v>1951</c:v>
                </c:pt>
                <c:pt idx="450">
                  <c:v>1952</c:v>
                </c:pt>
                <c:pt idx="451">
                  <c:v>1993</c:v>
                </c:pt>
                <c:pt idx="452">
                  <c:v>1966</c:v>
                </c:pt>
                <c:pt idx="453">
                  <c:v>1955</c:v>
                </c:pt>
                <c:pt idx="454">
                  <c:v>2023</c:v>
                </c:pt>
                <c:pt idx="455">
                  <c:v>1983</c:v>
                </c:pt>
                <c:pt idx="456">
                  <c:v>1949</c:v>
                </c:pt>
                <c:pt idx="457">
                  <c:v>1968</c:v>
                </c:pt>
                <c:pt idx="458">
                  <c:v>1825</c:v>
                </c:pt>
                <c:pt idx="459">
                  <c:v>1810</c:v>
                </c:pt>
                <c:pt idx="460">
                  <c:v>1782</c:v>
                </c:pt>
                <c:pt idx="461">
                  <c:v>1836</c:v>
                </c:pt>
                <c:pt idx="462">
                  <c:v>1775</c:v>
                </c:pt>
                <c:pt idx="463">
                  <c:v>1744</c:v>
                </c:pt>
                <c:pt idx="464">
                  <c:v>1694</c:v>
                </c:pt>
                <c:pt idx="465">
                  <c:v>1633</c:v>
                </c:pt>
                <c:pt idx="466">
                  <c:v>1583</c:v>
                </c:pt>
                <c:pt idx="467">
                  <c:v>1575</c:v>
                </c:pt>
                <c:pt idx="468">
                  <c:v>1602</c:v>
                </c:pt>
                <c:pt idx="469">
                  <c:v>1559</c:v>
                </c:pt>
                <c:pt idx="470">
                  <c:v>1520</c:v>
                </c:pt>
                <c:pt idx="471">
                  <c:v>1473</c:v>
                </c:pt>
                <c:pt idx="472">
                  <c:v>1432</c:v>
                </c:pt>
                <c:pt idx="473">
                  <c:v>1338</c:v>
                </c:pt>
                <c:pt idx="474">
                  <c:v>1333</c:v>
                </c:pt>
                <c:pt idx="475">
                  <c:v>1359</c:v>
                </c:pt>
                <c:pt idx="476">
                  <c:v>1286</c:v>
                </c:pt>
                <c:pt idx="477">
                  <c:v>1234</c:v>
                </c:pt>
                <c:pt idx="478">
                  <c:v>1169</c:v>
                </c:pt>
                <c:pt idx="479">
                  <c:v>1132</c:v>
                </c:pt>
                <c:pt idx="480">
                  <c:v>1098</c:v>
                </c:pt>
                <c:pt idx="481">
                  <c:v>1084</c:v>
                </c:pt>
                <c:pt idx="482">
                  <c:v>1092</c:v>
                </c:pt>
                <c:pt idx="483">
                  <c:v>1048</c:v>
                </c:pt>
                <c:pt idx="484">
                  <c:v>1011</c:v>
                </c:pt>
                <c:pt idx="485">
                  <c:v>984</c:v>
                </c:pt>
                <c:pt idx="486">
                  <c:v>965</c:v>
                </c:pt>
                <c:pt idx="487">
                  <c:v>935</c:v>
                </c:pt>
                <c:pt idx="488">
                  <c:v>924</c:v>
                </c:pt>
                <c:pt idx="489">
                  <c:v>935</c:v>
                </c:pt>
                <c:pt idx="490">
                  <c:v>908</c:v>
                </c:pt>
                <c:pt idx="491">
                  <c:v>899</c:v>
                </c:pt>
                <c:pt idx="492">
                  <c:v>900</c:v>
                </c:pt>
                <c:pt idx="493">
                  <c:v>900</c:v>
                </c:pt>
                <c:pt idx="494">
                  <c:v>895</c:v>
                </c:pt>
                <c:pt idx="495">
                  <c:v>892</c:v>
                </c:pt>
                <c:pt idx="496">
                  <c:v>907</c:v>
                </c:pt>
                <c:pt idx="497">
                  <c:v>888</c:v>
                </c:pt>
                <c:pt idx="498">
                  <c:v>881</c:v>
                </c:pt>
                <c:pt idx="499">
                  <c:v>873</c:v>
                </c:pt>
                <c:pt idx="500">
                  <c:v>874</c:v>
                </c:pt>
                <c:pt idx="501">
                  <c:v>874</c:v>
                </c:pt>
                <c:pt idx="502">
                  <c:v>887</c:v>
                </c:pt>
                <c:pt idx="503">
                  <c:v>948</c:v>
                </c:pt>
                <c:pt idx="504">
                  <c:v>971</c:v>
                </c:pt>
                <c:pt idx="505">
                  <c:v>1000</c:v>
                </c:pt>
                <c:pt idx="506">
                  <c:v>1056</c:v>
                </c:pt>
                <c:pt idx="507">
                  <c:v>1116</c:v>
                </c:pt>
                <c:pt idx="508">
                  <c:v>1128</c:v>
                </c:pt>
                <c:pt idx="509">
                  <c:v>1132</c:v>
                </c:pt>
                <c:pt idx="510">
                  <c:v>1232</c:v>
                </c:pt>
                <c:pt idx="511">
                  <c:v>1333</c:v>
                </c:pt>
                <c:pt idx="512">
                  <c:v>1450</c:v>
                </c:pt>
                <c:pt idx="513">
                  <c:v>1520</c:v>
                </c:pt>
                <c:pt idx="514">
                  <c:v>1576</c:v>
                </c:pt>
                <c:pt idx="515">
                  <c:v>1558</c:v>
                </c:pt>
                <c:pt idx="516">
                  <c:v>1534</c:v>
                </c:pt>
                <c:pt idx="517">
                  <c:v>1618</c:v>
                </c:pt>
                <c:pt idx="518">
                  <c:v>1677</c:v>
                </c:pt>
                <c:pt idx="519">
                  <c:v>1760</c:v>
                </c:pt>
                <c:pt idx="520">
                  <c:v>1809</c:v>
                </c:pt>
                <c:pt idx="521">
                  <c:v>1803</c:v>
                </c:pt>
                <c:pt idx="522">
                  <c:v>1663</c:v>
                </c:pt>
                <c:pt idx="523">
                  <c:v>1542</c:v>
                </c:pt>
                <c:pt idx="524">
                  <c:v>1599</c:v>
                </c:pt>
                <c:pt idx="525">
                  <c:v>1576</c:v>
                </c:pt>
                <c:pt idx="526">
                  <c:v>1618</c:v>
                </c:pt>
                <c:pt idx="527">
                  <c:v>1672</c:v>
                </c:pt>
                <c:pt idx="528">
                  <c:v>1593</c:v>
                </c:pt>
                <c:pt idx="529">
                  <c:v>1439</c:v>
                </c:pt>
                <c:pt idx="530">
                  <c:v>1326</c:v>
                </c:pt>
                <c:pt idx="531">
                  <c:v>1316</c:v>
                </c:pt>
                <c:pt idx="532">
                  <c:v>1298</c:v>
                </c:pt>
                <c:pt idx="533">
                  <c:v>1354</c:v>
                </c:pt>
                <c:pt idx="534">
                  <c:v>1375</c:v>
                </c:pt>
                <c:pt idx="535">
                  <c:v>10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C$2:$C$104</c:f>
              <c:numCache>
                <c:formatCode>General</c:formatCode>
                <c:ptCount val="1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3</c:v>
                </c:pt>
                <c:pt idx="38">
                  <c:v>1</c:v>
                </c:pt>
                <c:pt idx="39">
                  <c:v>3</c:v>
                </c:pt>
                <c:pt idx="40">
                  <c:v>0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5</c:v>
                </c:pt>
                <c:pt idx="51">
                  <c:v>4</c:v>
                </c:pt>
                <c:pt idx="52">
                  <c:v>4</c:v>
                </c:pt>
                <c:pt idx="53">
                  <c:v>6</c:v>
                </c:pt>
                <c:pt idx="54">
                  <c:v>3</c:v>
                </c:pt>
                <c:pt idx="55">
                  <c:v>11</c:v>
                </c:pt>
                <c:pt idx="56">
                  <c:v>11</c:v>
                </c:pt>
                <c:pt idx="57">
                  <c:v>16</c:v>
                </c:pt>
                <c:pt idx="58">
                  <c:v>11</c:v>
                </c:pt>
                <c:pt idx="59">
                  <c:v>18</c:v>
                </c:pt>
                <c:pt idx="60">
                  <c:v>21</c:v>
                </c:pt>
                <c:pt idx="61">
                  <c:v>20</c:v>
                </c:pt>
                <c:pt idx="62">
                  <c:v>23</c:v>
                </c:pt>
                <c:pt idx="63">
                  <c:v>31</c:v>
                </c:pt>
                <c:pt idx="64">
                  <c:v>31</c:v>
                </c:pt>
                <c:pt idx="65">
                  <c:v>41</c:v>
                </c:pt>
                <c:pt idx="66">
                  <c:v>47</c:v>
                </c:pt>
                <c:pt idx="67">
                  <c:v>38</c:v>
                </c:pt>
                <c:pt idx="68">
                  <c:v>58</c:v>
                </c:pt>
                <c:pt idx="69">
                  <c:v>62</c:v>
                </c:pt>
                <c:pt idx="70">
                  <c:v>81</c:v>
                </c:pt>
                <c:pt idx="71">
                  <c:v>67</c:v>
                </c:pt>
                <c:pt idx="72">
                  <c:v>85</c:v>
                </c:pt>
                <c:pt idx="73">
                  <c:v>85</c:v>
                </c:pt>
                <c:pt idx="74">
                  <c:v>102</c:v>
                </c:pt>
                <c:pt idx="75">
                  <c:v>110</c:v>
                </c:pt>
                <c:pt idx="76">
                  <c:v>120</c:v>
                </c:pt>
                <c:pt idx="77">
                  <c:v>128</c:v>
                </c:pt>
                <c:pt idx="78">
                  <c:v>112</c:v>
                </c:pt>
                <c:pt idx="79">
                  <c:v>132</c:v>
                </c:pt>
                <c:pt idx="80">
                  <c:v>142</c:v>
                </c:pt>
                <c:pt idx="81">
                  <c:v>158</c:v>
                </c:pt>
                <c:pt idx="82">
                  <c:v>187</c:v>
                </c:pt>
                <c:pt idx="83">
                  <c:v>161</c:v>
                </c:pt>
                <c:pt idx="84">
                  <c:v>199</c:v>
                </c:pt>
                <c:pt idx="85">
                  <c:v>202</c:v>
                </c:pt>
                <c:pt idx="86">
                  <c:v>182</c:v>
                </c:pt>
                <c:pt idx="87">
                  <c:v>181</c:v>
                </c:pt>
                <c:pt idx="88">
                  <c:v>152</c:v>
                </c:pt>
                <c:pt idx="89">
                  <c:v>106</c:v>
                </c:pt>
                <c:pt idx="90">
                  <c:v>91</c:v>
                </c:pt>
                <c:pt idx="91">
                  <c:v>64</c:v>
                </c:pt>
                <c:pt idx="92">
                  <c:v>61</c:v>
                </c:pt>
                <c:pt idx="93">
                  <c:v>50</c:v>
                </c:pt>
                <c:pt idx="94">
                  <c:v>28</c:v>
                </c:pt>
                <c:pt idx="95">
                  <c:v>22</c:v>
                </c:pt>
                <c:pt idx="96">
                  <c:v>9</c:v>
                </c:pt>
                <c:pt idx="97">
                  <c:v>5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B$2:$B$104</c:f>
              <c:numCache>
                <c:formatCode>General</c:formatCode>
                <c:ptCount val="103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7</c:v>
                </c:pt>
                <c:pt idx="5">
                  <c:v>10</c:v>
                </c:pt>
                <c:pt idx="6">
                  <c:v>4</c:v>
                </c:pt>
                <c:pt idx="7">
                  <c:v>17</c:v>
                </c:pt>
                <c:pt idx="8">
                  <c:v>17</c:v>
                </c:pt>
                <c:pt idx="9">
                  <c:v>19</c:v>
                </c:pt>
                <c:pt idx="10">
                  <c:v>19</c:v>
                </c:pt>
                <c:pt idx="11">
                  <c:v>14</c:v>
                </c:pt>
                <c:pt idx="12">
                  <c:v>32</c:v>
                </c:pt>
                <c:pt idx="13">
                  <c:v>20</c:v>
                </c:pt>
                <c:pt idx="14">
                  <c:v>29</c:v>
                </c:pt>
                <c:pt idx="15">
                  <c:v>25</c:v>
                </c:pt>
                <c:pt idx="16">
                  <c:v>37</c:v>
                </c:pt>
                <c:pt idx="17">
                  <c:v>28</c:v>
                </c:pt>
                <c:pt idx="18">
                  <c:v>25</c:v>
                </c:pt>
                <c:pt idx="19">
                  <c:v>38</c:v>
                </c:pt>
                <c:pt idx="20">
                  <c:v>48</c:v>
                </c:pt>
                <c:pt idx="21">
                  <c:v>57</c:v>
                </c:pt>
                <c:pt idx="22">
                  <c:v>65</c:v>
                </c:pt>
                <c:pt idx="23">
                  <c:v>60</c:v>
                </c:pt>
                <c:pt idx="24">
                  <c:v>80</c:v>
                </c:pt>
                <c:pt idx="25">
                  <c:v>71</c:v>
                </c:pt>
                <c:pt idx="26">
                  <c:v>79</c:v>
                </c:pt>
                <c:pt idx="27">
                  <c:v>82</c:v>
                </c:pt>
                <c:pt idx="28">
                  <c:v>83</c:v>
                </c:pt>
                <c:pt idx="29">
                  <c:v>87</c:v>
                </c:pt>
                <c:pt idx="30">
                  <c:v>99</c:v>
                </c:pt>
                <c:pt idx="31">
                  <c:v>93</c:v>
                </c:pt>
                <c:pt idx="32">
                  <c:v>85</c:v>
                </c:pt>
                <c:pt idx="33">
                  <c:v>98</c:v>
                </c:pt>
                <c:pt idx="34">
                  <c:v>131</c:v>
                </c:pt>
                <c:pt idx="35">
                  <c:v>106</c:v>
                </c:pt>
                <c:pt idx="36">
                  <c:v>134</c:v>
                </c:pt>
                <c:pt idx="37">
                  <c:v>150</c:v>
                </c:pt>
                <c:pt idx="38">
                  <c:v>135</c:v>
                </c:pt>
                <c:pt idx="39">
                  <c:v>140</c:v>
                </c:pt>
                <c:pt idx="40">
                  <c:v>161</c:v>
                </c:pt>
                <c:pt idx="41">
                  <c:v>153</c:v>
                </c:pt>
                <c:pt idx="42">
                  <c:v>161</c:v>
                </c:pt>
                <c:pt idx="43">
                  <c:v>159</c:v>
                </c:pt>
                <c:pt idx="44">
                  <c:v>139</c:v>
                </c:pt>
                <c:pt idx="45">
                  <c:v>145</c:v>
                </c:pt>
                <c:pt idx="46">
                  <c:v>154</c:v>
                </c:pt>
                <c:pt idx="47">
                  <c:v>169</c:v>
                </c:pt>
                <c:pt idx="48">
                  <c:v>140</c:v>
                </c:pt>
                <c:pt idx="49">
                  <c:v>155</c:v>
                </c:pt>
                <c:pt idx="50">
                  <c:v>169</c:v>
                </c:pt>
                <c:pt idx="51">
                  <c:v>196</c:v>
                </c:pt>
                <c:pt idx="52">
                  <c:v>185</c:v>
                </c:pt>
                <c:pt idx="53">
                  <c:v>182</c:v>
                </c:pt>
                <c:pt idx="54">
                  <c:v>157</c:v>
                </c:pt>
                <c:pt idx="55">
                  <c:v>194</c:v>
                </c:pt>
                <c:pt idx="56">
                  <c:v>225</c:v>
                </c:pt>
                <c:pt idx="57">
                  <c:v>223</c:v>
                </c:pt>
                <c:pt idx="58">
                  <c:v>241</c:v>
                </c:pt>
                <c:pt idx="59">
                  <c:v>278</c:v>
                </c:pt>
                <c:pt idx="60">
                  <c:v>323</c:v>
                </c:pt>
                <c:pt idx="61">
                  <c:v>305</c:v>
                </c:pt>
                <c:pt idx="62">
                  <c:v>339</c:v>
                </c:pt>
                <c:pt idx="63">
                  <c:v>348</c:v>
                </c:pt>
                <c:pt idx="64">
                  <c:v>370</c:v>
                </c:pt>
                <c:pt idx="65">
                  <c:v>449</c:v>
                </c:pt>
                <c:pt idx="66">
                  <c:v>473</c:v>
                </c:pt>
                <c:pt idx="67">
                  <c:v>485</c:v>
                </c:pt>
                <c:pt idx="68">
                  <c:v>571</c:v>
                </c:pt>
                <c:pt idx="69">
                  <c:v>619</c:v>
                </c:pt>
                <c:pt idx="70">
                  <c:v>655</c:v>
                </c:pt>
                <c:pt idx="71">
                  <c:v>607</c:v>
                </c:pt>
                <c:pt idx="72">
                  <c:v>753</c:v>
                </c:pt>
                <c:pt idx="73">
                  <c:v>777</c:v>
                </c:pt>
                <c:pt idx="74">
                  <c:v>799</c:v>
                </c:pt>
                <c:pt idx="75">
                  <c:v>863</c:v>
                </c:pt>
                <c:pt idx="76">
                  <c:v>939</c:v>
                </c:pt>
                <c:pt idx="77">
                  <c:v>942</c:v>
                </c:pt>
                <c:pt idx="78">
                  <c:v>948</c:v>
                </c:pt>
                <c:pt idx="79">
                  <c:v>1068</c:v>
                </c:pt>
                <c:pt idx="80">
                  <c:v>1034</c:v>
                </c:pt>
                <c:pt idx="81">
                  <c:v>1176</c:v>
                </c:pt>
                <c:pt idx="82">
                  <c:v>1229</c:v>
                </c:pt>
                <c:pt idx="83">
                  <c:v>1254</c:v>
                </c:pt>
                <c:pt idx="84">
                  <c:v>1322</c:v>
                </c:pt>
                <c:pt idx="85">
                  <c:v>1260</c:v>
                </c:pt>
                <c:pt idx="86">
                  <c:v>1240</c:v>
                </c:pt>
                <c:pt idx="87">
                  <c:v>1059</c:v>
                </c:pt>
                <c:pt idx="88">
                  <c:v>933</c:v>
                </c:pt>
                <c:pt idx="89">
                  <c:v>761</c:v>
                </c:pt>
                <c:pt idx="90">
                  <c:v>546</c:v>
                </c:pt>
                <c:pt idx="91">
                  <c:v>425</c:v>
                </c:pt>
                <c:pt idx="92">
                  <c:v>324</c:v>
                </c:pt>
                <c:pt idx="93">
                  <c:v>238</c:v>
                </c:pt>
                <c:pt idx="94">
                  <c:v>153</c:v>
                </c:pt>
                <c:pt idx="95">
                  <c:v>98</c:v>
                </c:pt>
                <c:pt idx="96">
                  <c:v>45</c:v>
                </c:pt>
                <c:pt idx="97">
                  <c:v>28</c:v>
                </c:pt>
                <c:pt idx="98">
                  <c:v>7</c:v>
                </c:pt>
                <c:pt idx="99">
                  <c:v>5</c:v>
                </c:pt>
                <c:pt idx="100">
                  <c:v>3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095798771781857E-2"/>
          <c:y val="2.8705141534522347E-2"/>
          <c:w val="0.91847729224387953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37</c:f>
              <c:numCache>
                <c:formatCode>m/d/yyyy</c:formatCode>
                <c:ptCount val="5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</c:numCache>
            </c:numRef>
          </c:cat>
          <c:val>
            <c:numRef>
              <c:f>Sheet1!$B$2:$B$537</c:f>
              <c:numCache>
                <c:formatCode>General</c:formatCode>
                <c:ptCount val="536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4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2</c:v>
                </c:pt>
                <c:pt idx="32">
                  <c:v>36</c:v>
                </c:pt>
                <c:pt idx="33">
                  <c:v>54</c:v>
                </c:pt>
                <c:pt idx="34">
                  <c:v>167</c:v>
                </c:pt>
                <c:pt idx="35">
                  <c:v>82</c:v>
                </c:pt>
                <c:pt idx="36">
                  <c:v>45</c:v>
                </c:pt>
                <c:pt idx="37">
                  <c:v>79</c:v>
                </c:pt>
                <c:pt idx="38">
                  <c:v>139</c:v>
                </c:pt>
                <c:pt idx="39">
                  <c:v>30</c:v>
                </c:pt>
                <c:pt idx="40">
                  <c:v>13</c:v>
                </c:pt>
                <c:pt idx="41">
                  <c:v>138</c:v>
                </c:pt>
                <c:pt idx="42">
                  <c:v>225</c:v>
                </c:pt>
                <c:pt idx="43">
                  <c:v>181</c:v>
                </c:pt>
                <c:pt idx="44">
                  <c:v>200</c:v>
                </c:pt>
                <c:pt idx="45">
                  <c:v>205</c:v>
                </c:pt>
                <c:pt idx="46">
                  <c:v>156</c:v>
                </c:pt>
                <c:pt idx="47">
                  <c:v>41</c:v>
                </c:pt>
                <c:pt idx="48">
                  <c:v>243</c:v>
                </c:pt>
                <c:pt idx="49">
                  <c:v>200</c:v>
                </c:pt>
                <c:pt idx="50">
                  <c:v>327</c:v>
                </c:pt>
                <c:pt idx="51">
                  <c:v>234</c:v>
                </c:pt>
                <c:pt idx="52">
                  <c:v>424</c:v>
                </c:pt>
                <c:pt idx="53">
                  <c:v>228</c:v>
                </c:pt>
                <c:pt idx="54">
                  <c:v>198</c:v>
                </c:pt>
                <c:pt idx="55">
                  <c:v>389</c:v>
                </c:pt>
                <c:pt idx="56">
                  <c:v>536</c:v>
                </c:pt>
                <c:pt idx="57">
                  <c:v>263</c:v>
                </c:pt>
                <c:pt idx="58">
                  <c:v>545</c:v>
                </c:pt>
                <c:pt idx="59">
                  <c:v>590</c:v>
                </c:pt>
                <c:pt idx="60">
                  <c:v>338</c:v>
                </c:pt>
                <c:pt idx="61">
                  <c:v>214</c:v>
                </c:pt>
                <c:pt idx="62">
                  <c:v>337</c:v>
                </c:pt>
                <c:pt idx="63">
                  <c:v>348</c:v>
                </c:pt>
                <c:pt idx="64">
                  <c:v>424</c:v>
                </c:pt>
                <c:pt idx="65">
                  <c:v>540</c:v>
                </c:pt>
                <c:pt idx="66">
                  <c:v>491</c:v>
                </c:pt>
                <c:pt idx="67">
                  <c:v>215</c:v>
                </c:pt>
                <c:pt idx="68">
                  <c:v>79</c:v>
                </c:pt>
                <c:pt idx="69">
                  <c:v>206</c:v>
                </c:pt>
                <c:pt idx="70">
                  <c:v>385</c:v>
                </c:pt>
                <c:pt idx="71">
                  <c:v>679</c:v>
                </c:pt>
                <c:pt idx="72">
                  <c:v>502</c:v>
                </c:pt>
                <c:pt idx="73">
                  <c:v>485</c:v>
                </c:pt>
                <c:pt idx="74">
                  <c:v>181</c:v>
                </c:pt>
                <c:pt idx="75">
                  <c:v>169</c:v>
                </c:pt>
                <c:pt idx="76">
                  <c:v>388</c:v>
                </c:pt>
                <c:pt idx="77">
                  <c:v>139</c:v>
                </c:pt>
                <c:pt idx="78">
                  <c:v>269</c:v>
                </c:pt>
                <c:pt idx="79">
                  <c:v>272</c:v>
                </c:pt>
                <c:pt idx="80">
                  <c:v>242</c:v>
                </c:pt>
                <c:pt idx="81">
                  <c:v>95</c:v>
                </c:pt>
                <c:pt idx="82">
                  <c:v>92</c:v>
                </c:pt>
                <c:pt idx="83">
                  <c:v>385</c:v>
                </c:pt>
                <c:pt idx="84">
                  <c:v>201</c:v>
                </c:pt>
                <c:pt idx="85">
                  <c:v>130</c:v>
                </c:pt>
                <c:pt idx="86">
                  <c:v>199</c:v>
                </c:pt>
                <c:pt idx="87">
                  <c:v>139</c:v>
                </c:pt>
                <c:pt idx="88">
                  <c:v>78</c:v>
                </c:pt>
                <c:pt idx="89">
                  <c:v>30</c:v>
                </c:pt>
                <c:pt idx="90">
                  <c:v>213</c:v>
                </c:pt>
                <c:pt idx="91">
                  <c:v>124</c:v>
                </c:pt>
                <c:pt idx="92">
                  <c:v>134</c:v>
                </c:pt>
                <c:pt idx="93">
                  <c:v>130</c:v>
                </c:pt>
                <c:pt idx="94">
                  <c:v>148</c:v>
                </c:pt>
                <c:pt idx="95">
                  <c:v>89</c:v>
                </c:pt>
                <c:pt idx="96">
                  <c:v>22</c:v>
                </c:pt>
                <c:pt idx="97">
                  <c:v>143</c:v>
                </c:pt>
                <c:pt idx="98">
                  <c:v>91</c:v>
                </c:pt>
                <c:pt idx="99">
                  <c:v>141</c:v>
                </c:pt>
                <c:pt idx="100">
                  <c:v>84</c:v>
                </c:pt>
                <c:pt idx="101">
                  <c:v>233</c:v>
                </c:pt>
                <c:pt idx="102">
                  <c:v>68</c:v>
                </c:pt>
                <c:pt idx="103">
                  <c:v>50</c:v>
                </c:pt>
                <c:pt idx="104">
                  <c:v>150</c:v>
                </c:pt>
                <c:pt idx="105">
                  <c:v>134</c:v>
                </c:pt>
                <c:pt idx="106">
                  <c:v>100</c:v>
                </c:pt>
                <c:pt idx="107">
                  <c:v>68</c:v>
                </c:pt>
                <c:pt idx="108">
                  <c:v>223</c:v>
                </c:pt>
                <c:pt idx="109">
                  <c:v>61</c:v>
                </c:pt>
                <c:pt idx="110">
                  <c:v>22</c:v>
                </c:pt>
                <c:pt idx="111">
                  <c:v>180</c:v>
                </c:pt>
                <c:pt idx="112">
                  <c:v>177</c:v>
                </c:pt>
                <c:pt idx="113">
                  <c:v>122</c:v>
                </c:pt>
                <c:pt idx="114">
                  <c:v>18</c:v>
                </c:pt>
                <c:pt idx="115">
                  <c:v>72</c:v>
                </c:pt>
                <c:pt idx="116">
                  <c:v>79</c:v>
                </c:pt>
                <c:pt idx="117">
                  <c:v>98</c:v>
                </c:pt>
                <c:pt idx="118">
                  <c:v>166</c:v>
                </c:pt>
                <c:pt idx="119">
                  <c:v>186</c:v>
                </c:pt>
                <c:pt idx="120">
                  <c:v>146</c:v>
                </c:pt>
                <c:pt idx="121">
                  <c:v>136</c:v>
                </c:pt>
                <c:pt idx="122">
                  <c:v>67</c:v>
                </c:pt>
                <c:pt idx="123">
                  <c:v>61</c:v>
                </c:pt>
                <c:pt idx="124">
                  <c:v>42</c:v>
                </c:pt>
                <c:pt idx="125">
                  <c:v>270</c:v>
                </c:pt>
                <c:pt idx="126">
                  <c:v>155</c:v>
                </c:pt>
                <c:pt idx="127">
                  <c:v>163</c:v>
                </c:pt>
                <c:pt idx="128">
                  <c:v>234</c:v>
                </c:pt>
                <c:pt idx="129">
                  <c:v>188</c:v>
                </c:pt>
                <c:pt idx="130">
                  <c:v>65</c:v>
                </c:pt>
                <c:pt idx="131">
                  <c:v>33</c:v>
                </c:pt>
                <c:pt idx="132">
                  <c:v>243</c:v>
                </c:pt>
                <c:pt idx="133">
                  <c:v>127</c:v>
                </c:pt>
                <c:pt idx="134">
                  <c:v>175</c:v>
                </c:pt>
                <c:pt idx="135">
                  <c:v>97</c:v>
                </c:pt>
                <c:pt idx="136">
                  <c:v>87</c:v>
                </c:pt>
                <c:pt idx="137">
                  <c:v>35</c:v>
                </c:pt>
                <c:pt idx="138">
                  <c:v>46</c:v>
                </c:pt>
                <c:pt idx="139">
                  <c:v>165</c:v>
                </c:pt>
                <c:pt idx="140">
                  <c:v>82</c:v>
                </c:pt>
                <c:pt idx="141">
                  <c:v>147</c:v>
                </c:pt>
                <c:pt idx="142">
                  <c:v>108</c:v>
                </c:pt>
                <c:pt idx="143">
                  <c:v>118</c:v>
                </c:pt>
                <c:pt idx="144">
                  <c:v>53</c:v>
                </c:pt>
                <c:pt idx="145">
                  <c:v>26</c:v>
                </c:pt>
                <c:pt idx="146">
                  <c:v>86</c:v>
                </c:pt>
                <c:pt idx="147">
                  <c:v>43</c:v>
                </c:pt>
                <c:pt idx="148">
                  <c:v>96</c:v>
                </c:pt>
                <c:pt idx="149">
                  <c:v>67</c:v>
                </c:pt>
                <c:pt idx="150">
                  <c:v>37</c:v>
                </c:pt>
                <c:pt idx="151">
                  <c:v>49</c:v>
                </c:pt>
                <c:pt idx="152">
                  <c:v>10</c:v>
                </c:pt>
                <c:pt idx="153">
                  <c:v>108</c:v>
                </c:pt>
                <c:pt idx="154">
                  <c:v>97</c:v>
                </c:pt>
                <c:pt idx="155">
                  <c:v>103</c:v>
                </c:pt>
                <c:pt idx="156">
                  <c:v>84</c:v>
                </c:pt>
                <c:pt idx="157">
                  <c:v>85</c:v>
                </c:pt>
                <c:pt idx="158">
                  <c:v>44</c:v>
                </c:pt>
                <c:pt idx="159">
                  <c:v>16</c:v>
                </c:pt>
                <c:pt idx="160">
                  <c:v>66</c:v>
                </c:pt>
                <c:pt idx="161">
                  <c:v>66</c:v>
                </c:pt>
                <c:pt idx="162">
                  <c:v>67</c:v>
                </c:pt>
                <c:pt idx="163">
                  <c:v>69</c:v>
                </c:pt>
                <c:pt idx="164">
                  <c:v>52</c:v>
                </c:pt>
                <c:pt idx="165">
                  <c:v>8</c:v>
                </c:pt>
                <c:pt idx="166">
                  <c:v>14</c:v>
                </c:pt>
                <c:pt idx="167">
                  <c:v>37</c:v>
                </c:pt>
                <c:pt idx="168">
                  <c:v>19</c:v>
                </c:pt>
                <c:pt idx="169">
                  <c:v>30</c:v>
                </c:pt>
                <c:pt idx="170">
                  <c:v>30</c:v>
                </c:pt>
                <c:pt idx="171">
                  <c:v>28</c:v>
                </c:pt>
                <c:pt idx="172">
                  <c:v>18</c:v>
                </c:pt>
                <c:pt idx="173">
                  <c:v>7</c:v>
                </c:pt>
                <c:pt idx="174">
                  <c:v>92</c:v>
                </c:pt>
                <c:pt idx="175">
                  <c:v>36</c:v>
                </c:pt>
                <c:pt idx="176">
                  <c:v>34</c:v>
                </c:pt>
                <c:pt idx="177">
                  <c:v>46</c:v>
                </c:pt>
                <c:pt idx="178">
                  <c:v>48</c:v>
                </c:pt>
                <c:pt idx="179">
                  <c:v>10</c:v>
                </c:pt>
                <c:pt idx="180">
                  <c:v>3</c:v>
                </c:pt>
                <c:pt idx="181">
                  <c:v>78</c:v>
                </c:pt>
                <c:pt idx="182">
                  <c:v>28</c:v>
                </c:pt>
                <c:pt idx="183">
                  <c:v>46</c:v>
                </c:pt>
                <c:pt idx="184">
                  <c:v>11</c:v>
                </c:pt>
                <c:pt idx="185">
                  <c:v>24</c:v>
                </c:pt>
                <c:pt idx="186">
                  <c:v>5</c:v>
                </c:pt>
                <c:pt idx="187">
                  <c:v>6</c:v>
                </c:pt>
                <c:pt idx="188">
                  <c:v>27</c:v>
                </c:pt>
                <c:pt idx="189">
                  <c:v>102</c:v>
                </c:pt>
                <c:pt idx="190">
                  <c:v>59</c:v>
                </c:pt>
                <c:pt idx="191">
                  <c:v>13</c:v>
                </c:pt>
                <c:pt idx="192">
                  <c:v>34</c:v>
                </c:pt>
                <c:pt idx="193">
                  <c:v>9</c:v>
                </c:pt>
                <c:pt idx="194">
                  <c:v>7</c:v>
                </c:pt>
                <c:pt idx="195">
                  <c:v>29</c:v>
                </c:pt>
                <c:pt idx="196">
                  <c:v>21</c:v>
                </c:pt>
                <c:pt idx="197">
                  <c:v>12</c:v>
                </c:pt>
                <c:pt idx="198">
                  <c:v>37</c:v>
                </c:pt>
                <c:pt idx="199">
                  <c:v>18</c:v>
                </c:pt>
                <c:pt idx="200">
                  <c:v>9</c:v>
                </c:pt>
                <c:pt idx="201">
                  <c:v>4</c:v>
                </c:pt>
                <c:pt idx="202">
                  <c:v>14</c:v>
                </c:pt>
                <c:pt idx="203">
                  <c:v>30</c:v>
                </c:pt>
                <c:pt idx="204">
                  <c:v>20</c:v>
                </c:pt>
                <c:pt idx="205">
                  <c:v>31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3</c:v>
                </c:pt>
                <c:pt idx="210">
                  <c:v>13</c:v>
                </c:pt>
                <c:pt idx="211">
                  <c:v>11</c:v>
                </c:pt>
                <c:pt idx="212">
                  <c:v>11</c:v>
                </c:pt>
                <c:pt idx="213">
                  <c:v>4</c:v>
                </c:pt>
                <c:pt idx="214">
                  <c:v>4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9</c:v>
                </c:pt>
                <c:pt idx="219">
                  <c:v>2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1</c:v>
                </c:pt>
                <c:pt idx="224">
                  <c:v>2</c:v>
                </c:pt>
                <c:pt idx="225">
                  <c:v>2</c:v>
                </c:pt>
                <c:pt idx="226">
                  <c:v>4</c:v>
                </c:pt>
                <c:pt idx="227">
                  <c:v>1</c:v>
                </c:pt>
                <c:pt idx="228">
                  <c:v>1</c:v>
                </c:pt>
                <c:pt idx="229">
                  <c:v>2</c:v>
                </c:pt>
                <c:pt idx="230">
                  <c:v>5</c:v>
                </c:pt>
                <c:pt idx="231">
                  <c:v>5</c:v>
                </c:pt>
                <c:pt idx="232">
                  <c:v>3</c:v>
                </c:pt>
                <c:pt idx="233">
                  <c:v>11</c:v>
                </c:pt>
                <c:pt idx="234">
                  <c:v>7</c:v>
                </c:pt>
                <c:pt idx="235">
                  <c:v>1</c:v>
                </c:pt>
                <c:pt idx="236">
                  <c:v>0</c:v>
                </c:pt>
                <c:pt idx="237">
                  <c:v>2</c:v>
                </c:pt>
                <c:pt idx="238">
                  <c:v>4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3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3</c:v>
                </c:pt>
                <c:pt idx="255">
                  <c:v>5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1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5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5</c:v>
                </c:pt>
                <c:pt idx="428">
                  <c:v>16</c:v>
                </c:pt>
                <c:pt idx="429">
                  <c:v>53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30</c:v>
                </c:pt>
                <c:pt idx="434">
                  <c:v>29</c:v>
                </c:pt>
                <c:pt idx="435">
                  <c:v>16</c:v>
                </c:pt>
                <c:pt idx="436">
                  <c:v>18</c:v>
                </c:pt>
                <c:pt idx="437">
                  <c:v>17</c:v>
                </c:pt>
                <c:pt idx="438">
                  <c:v>13</c:v>
                </c:pt>
                <c:pt idx="439">
                  <c:v>14</c:v>
                </c:pt>
                <c:pt idx="440">
                  <c:v>43</c:v>
                </c:pt>
                <c:pt idx="441">
                  <c:v>32</c:v>
                </c:pt>
                <c:pt idx="442">
                  <c:v>25</c:v>
                </c:pt>
                <c:pt idx="443">
                  <c:v>56</c:v>
                </c:pt>
                <c:pt idx="444">
                  <c:v>85</c:v>
                </c:pt>
                <c:pt idx="445">
                  <c:v>26</c:v>
                </c:pt>
                <c:pt idx="446">
                  <c:v>9</c:v>
                </c:pt>
                <c:pt idx="447">
                  <c:v>50</c:v>
                </c:pt>
                <c:pt idx="448">
                  <c:v>23</c:v>
                </c:pt>
                <c:pt idx="449">
                  <c:v>42</c:v>
                </c:pt>
                <c:pt idx="450">
                  <c:v>29</c:v>
                </c:pt>
                <c:pt idx="451">
                  <c:v>53</c:v>
                </c:pt>
                <c:pt idx="452">
                  <c:v>5</c:v>
                </c:pt>
                <c:pt idx="453">
                  <c:v>7</c:v>
                </c:pt>
                <c:pt idx="454">
                  <c:v>44</c:v>
                </c:pt>
                <c:pt idx="455">
                  <c:v>14</c:v>
                </c:pt>
                <c:pt idx="456">
                  <c:v>30</c:v>
                </c:pt>
                <c:pt idx="457">
                  <c:v>31</c:v>
                </c:pt>
                <c:pt idx="458">
                  <c:v>13</c:v>
                </c:pt>
                <c:pt idx="459">
                  <c:v>38</c:v>
                </c:pt>
                <c:pt idx="460">
                  <c:v>7</c:v>
                </c:pt>
                <c:pt idx="461">
                  <c:v>30</c:v>
                </c:pt>
                <c:pt idx="462">
                  <c:v>22</c:v>
                </c:pt>
                <c:pt idx="463">
                  <c:v>18</c:v>
                </c:pt>
                <c:pt idx="464">
                  <c:v>31</c:v>
                </c:pt>
                <c:pt idx="465">
                  <c:v>30</c:v>
                </c:pt>
                <c:pt idx="466">
                  <c:v>6</c:v>
                </c:pt>
                <c:pt idx="467">
                  <c:v>0</c:v>
                </c:pt>
                <c:pt idx="468">
                  <c:v>16</c:v>
                </c:pt>
                <c:pt idx="469">
                  <c:v>27</c:v>
                </c:pt>
                <c:pt idx="470">
                  <c:v>16</c:v>
                </c:pt>
                <c:pt idx="471">
                  <c:v>7</c:v>
                </c:pt>
                <c:pt idx="472">
                  <c:v>12</c:v>
                </c:pt>
                <c:pt idx="473">
                  <c:v>2</c:v>
                </c:pt>
                <c:pt idx="474">
                  <c:v>3</c:v>
                </c:pt>
                <c:pt idx="475">
                  <c:v>16</c:v>
                </c:pt>
                <c:pt idx="476">
                  <c:v>8</c:v>
                </c:pt>
                <c:pt idx="477">
                  <c:v>3</c:v>
                </c:pt>
                <c:pt idx="478">
                  <c:v>5</c:v>
                </c:pt>
                <c:pt idx="479">
                  <c:v>0</c:v>
                </c:pt>
                <c:pt idx="480">
                  <c:v>5</c:v>
                </c:pt>
                <c:pt idx="481">
                  <c:v>0</c:v>
                </c:pt>
                <c:pt idx="482">
                  <c:v>10</c:v>
                </c:pt>
                <c:pt idx="483">
                  <c:v>6</c:v>
                </c:pt>
                <c:pt idx="484">
                  <c:v>6</c:v>
                </c:pt>
                <c:pt idx="485">
                  <c:v>2</c:v>
                </c:pt>
                <c:pt idx="486">
                  <c:v>10</c:v>
                </c:pt>
                <c:pt idx="487">
                  <c:v>2</c:v>
                </c:pt>
                <c:pt idx="488">
                  <c:v>0</c:v>
                </c:pt>
                <c:pt idx="489">
                  <c:v>4</c:v>
                </c:pt>
                <c:pt idx="490">
                  <c:v>5</c:v>
                </c:pt>
                <c:pt idx="491">
                  <c:v>7</c:v>
                </c:pt>
                <c:pt idx="492">
                  <c:v>7</c:v>
                </c:pt>
                <c:pt idx="493">
                  <c:v>6</c:v>
                </c:pt>
                <c:pt idx="494">
                  <c:v>1</c:v>
                </c:pt>
                <c:pt idx="495">
                  <c:v>2</c:v>
                </c:pt>
                <c:pt idx="496">
                  <c:v>1</c:v>
                </c:pt>
                <c:pt idx="497">
                  <c:v>8</c:v>
                </c:pt>
                <c:pt idx="498">
                  <c:v>4</c:v>
                </c:pt>
                <c:pt idx="499">
                  <c:v>3</c:v>
                </c:pt>
                <c:pt idx="500">
                  <c:v>8</c:v>
                </c:pt>
                <c:pt idx="501">
                  <c:v>1</c:v>
                </c:pt>
                <c:pt idx="502">
                  <c:v>4</c:v>
                </c:pt>
                <c:pt idx="503">
                  <c:v>20</c:v>
                </c:pt>
                <c:pt idx="504">
                  <c:v>12</c:v>
                </c:pt>
                <c:pt idx="505">
                  <c:v>11</c:v>
                </c:pt>
                <c:pt idx="506">
                  <c:v>21</c:v>
                </c:pt>
                <c:pt idx="507">
                  <c:v>15</c:v>
                </c:pt>
                <c:pt idx="508">
                  <c:v>32</c:v>
                </c:pt>
                <c:pt idx="509">
                  <c:v>6</c:v>
                </c:pt>
                <c:pt idx="510">
                  <c:v>44</c:v>
                </c:pt>
                <c:pt idx="511">
                  <c:v>42</c:v>
                </c:pt>
                <c:pt idx="512">
                  <c:v>38</c:v>
                </c:pt>
                <c:pt idx="513">
                  <c:v>24</c:v>
                </c:pt>
                <c:pt idx="514">
                  <c:v>48</c:v>
                </c:pt>
                <c:pt idx="515">
                  <c:v>4</c:v>
                </c:pt>
                <c:pt idx="516">
                  <c:v>6</c:v>
                </c:pt>
                <c:pt idx="517">
                  <c:v>43</c:v>
                </c:pt>
                <c:pt idx="518">
                  <c:v>49</c:v>
                </c:pt>
                <c:pt idx="519">
                  <c:v>31</c:v>
                </c:pt>
                <c:pt idx="520">
                  <c:v>21</c:v>
                </c:pt>
                <c:pt idx="521">
                  <c:v>58</c:v>
                </c:pt>
                <c:pt idx="522">
                  <c:v>20</c:v>
                </c:pt>
                <c:pt idx="523">
                  <c:v>12</c:v>
                </c:pt>
                <c:pt idx="524">
                  <c:v>85</c:v>
                </c:pt>
                <c:pt idx="525">
                  <c:v>46</c:v>
                </c:pt>
                <c:pt idx="526">
                  <c:v>26</c:v>
                </c:pt>
                <c:pt idx="527">
                  <c:v>46</c:v>
                </c:pt>
                <c:pt idx="528">
                  <c:v>75</c:v>
                </c:pt>
                <c:pt idx="529">
                  <c:v>19</c:v>
                </c:pt>
                <c:pt idx="530">
                  <c:v>5</c:v>
                </c:pt>
                <c:pt idx="531">
                  <c:v>53</c:v>
                </c:pt>
                <c:pt idx="532">
                  <c:v>53</c:v>
                </c:pt>
                <c:pt idx="533">
                  <c:v>58</c:v>
                </c:pt>
                <c:pt idx="534">
                  <c:v>103</c:v>
                </c:pt>
                <c:pt idx="535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37</c:f>
              <c:numCache>
                <c:formatCode>m/d/yyyy</c:formatCode>
                <c:ptCount val="5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</c:numCache>
            </c:numRef>
          </c:cat>
          <c:val>
            <c:numRef>
              <c:f>Sheet1!$B$2:$B$537</c:f>
              <c:numCache>
                <c:formatCode>General</c:formatCode>
                <c:ptCount val="536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5</c:v>
                </c:pt>
                <c:pt idx="21">
                  <c:v>6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6</c:v>
                </c:pt>
                <c:pt idx="28">
                  <c:v>25</c:v>
                </c:pt>
                <c:pt idx="29">
                  <c:v>10</c:v>
                </c:pt>
                <c:pt idx="30">
                  <c:v>30</c:v>
                </c:pt>
                <c:pt idx="31">
                  <c:v>96</c:v>
                </c:pt>
                <c:pt idx="32">
                  <c:v>31</c:v>
                </c:pt>
                <c:pt idx="33">
                  <c:v>31</c:v>
                </c:pt>
                <c:pt idx="34">
                  <c:v>97</c:v>
                </c:pt>
                <c:pt idx="35">
                  <c:v>51</c:v>
                </c:pt>
                <c:pt idx="36">
                  <c:v>43</c:v>
                </c:pt>
                <c:pt idx="37">
                  <c:v>86</c:v>
                </c:pt>
                <c:pt idx="38">
                  <c:v>93</c:v>
                </c:pt>
                <c:pt idx="39">
                  <c:v>51</c:v>
                </c:pt>
                <c:pt idx="40">
                  <c:v>26</c:v>
                </c:pt>
                <c:pt idx="41">
                  <c:v>174</c:v>
                </c:pt>
                <c:pt idx="42">
                  <c:v>162</c:v>
                </c:pt>
                <c:pt idx="43">
                  <c:v>199</c:v>
                </c:pt>
                <c:pt idx="44">
                  <c:v>209</c:v>
                </c:pt>
                <c:pt idx="45">
                  <c:v>214</c:v>
                </c:pt>
                <c:pt idx="46">
                  <c:v>107</c:v>
                </c:pt>
                <c:pt idx="47">
                  <c:v>49</c:v>
                </c:pt>
                <c:pt idx="48">
                  <c:v>199</c:v>
                </c:pt>
                <c:pt idx="49">
                  <c:v>202</c:v>
                </c:pt>
                <c:pt idx="50">
                  <c:v>271</c:v>
                </c:pt>
                <c:pt idx="51">
                  <c:v>241</c:v>
                </c:pt>
                <c:pt idx="52">
                  <c:v>341</c:v>
                </c:pt>
                <c:pt idx="53">
                  <c:v>190</c:v>
                </c:pt>
                <c:pt idx="54">
                  <c:v>90</c:v>
                </c:pt>
                <c:pt idx="55">
                  <c:v>383</c:v>
                </c:pt>
                <c:pt idx="56">
                  <c:v>418</c:v>
                </c:pt>
                <c:pt idx="57">
                  <c:v>137</c:v>
                </c:pt>
                <c:pt idx="58">
                  <c:v>482</c:v>
                </c:pt>
                <c:pt idx="59">
                  <c:v>344</c:v>
                </c:pt>
                <c:pt idx="60">
                  <c:v>187</c:v>
                </c:pt>
                <c:pt idx="61">
                  <c:v>120</c:v>
                </c:pt>
                <c:pt idx="62">
                  <c:v>314</c:v>
                </c:pt>
                <c:pt idx="63">
                  <c:v>243</c:v>
                </c:pt>
                <c:pt idx="64">
                  <c:v>345</c:v>
                </c:pt>
                <c:pt idx="65">
                  <c:v>290</c:v>
                </c:pt>
                <c:pt idx="66">
                  <c:v>246</c:v>
                </c:pt>
                <c:pt idx="67">
                  <c:v>120</c:v>
                </c:pt>
                <c:pt idx="68">
                  <c:v>51</c:v>
                </c:pt>
                <c:pt idx="69">
                  <c:v>207</c:v>
                </c:pt>
                <c:pt idx="70">
                  <c:v>211</c:v>
                </c:pt>
                <c:pt idx="71">
                  <c:v>272</c:v>
                </c:pt>
                <c:pt idx="72">
                  <c:v>245</c:v>
                </c:pt>
                <c:pt idx="73">
                  <c:v>209</c:v>
                </c:pt>
                <c:pt idx="74">
                  <c:v>75</c:v>
                </c:pt>
                <c:pt idx="75">
                  <c:v>32</c:v>
                </c:pt>
                <c:pt idx="76">
                  <c:v>197</c:v>
                </c:pt>
                <c:pt idx="77">
                  <c:v>51</c:v>
                </c:pt>
                <c:pt idx="78">
                  <c:v>167</c:v>
                </c:pt>
                <c:pt idx="79">
                  <c:v>134</c:v>
                </c:pt>
                <c:pt idx="80">
                  <c:v>127</c:v>
                </c:pt>
                <c:pt idx="81">
                  <c:v>41</c:v>
                </c:pt>
                <c:pt idx="82">
                  <c:v>18</c:v>
                </c:pt>
                <c:pt idx="83">
                  <c:v>147</c:v>
                </c:pt>
                <c:pt idx="84">
                  <c:v>111</c:v>
                </c:pt>
                <c:pt idx="85">
                  <c:v>96</c:v>
                </c:pt>
                <c:pt idx="86">
                  <c:v>58</c:v>
                </c:pt>
                <c:pt idx="87">
                  <c:v>83</c:v>
                </c:pt>
                <c:pt idx="88">
                  <c:v>23</c:v>
                </c:pt>
                <c:pt idx="89">
                  <c:v>16</c:v>
                </c:pt>
                <c:pt idx="90">
                  <c:v>112</c:v>
                </c:pt>
                <c:pt idx="91">
                  <c:v>91</c:v>
                </c:pt>
                <c:pt idx="92">
                  <c:v>74</c:v>
                </c:pt>
                <c:pt idx="93">
                  <c:v>63</c:v>
                </c:pt>
                <c:pt idx="94">
                  <c:v>93</c:v>
                </c:pt>
                <c:pt idx="95">
                  <c:v>42</c:v>
                </c:pt>
                <c:pt idx="96">
                  <c:v>27</c:v>
                </c:pt>
                <c:pt idx="97">
                  <c:v>121</c:v>
                </c:pt>
                <c:pt idx="98">
                  <c:v>79</c:v>
                </c:pt>
                <c:pt idx="99">
                  <c:v>65</c:v>
                </c:pt>
                <c:pt idx="100">
                  <c:v>61</c:v>
                </c:pt>
                <c:pt idx="101">
                  <c:v>80</c:v>
                </c:pt>
                <c:pt idx="102">
                  <c:v>21</c:v>
                </c:pt>
                <c:pt idx="103">
                  <c:v>17</c:v>
                </c:pt>
                <c:pt idx="104">
                  <c:v>140</c:v>
                </c:pt>
                <c:pt idx="105">
                  <c:v>72</c:v>
                </c:pt>
                <c:pt idx="106">
                  <c:v>98</c:v>
                </c:pt>
                <c:pt idx="107">
                  <c:v>54</c:v>
                </c:pt>
                <c:pt idx="108">
                  <c:v>86</c:v>
                </c:pt>
                <c:pt idx="109">
                  <c:v>32</c:v>
                </c:pt>
                <c:pt idx="110">
                  <c:v>29</c:v>
                </c:pt>
                <c:pt idx="111">
                  <c:v>166</c:v>
                </c:pt>
                <c:pt idx="112">
                  <c:v>117</c:v>
                </c:pt>
                <c:pt idx="113">
                  <c:v>124</c:v>
                </c:pt>
                <c:pt idx="114">
                  <c:v>32</c:v>
                </c:pt>
                <c:pt idx="115">
                  <c:v>51</c:v>
                </c:pt>
                <c:pt idx="116">
                  <c:v>53</c:v>
                </c:pt>
                <c:pt idx="117">
                  <c:v>49</c:v>
                </c:pt>
                <c:pt idx="118">
                  <c:v>196</c:v>
                </c:pt>
                <c:pt idx="119">
                  <c:v>148</c:v>
                </c:pt>
                <c:pt idx="120">
                  <c:v>113</c:v>
                </c:pt>
                <c:pt idx="121">
                  <c:v>91</c:v>
                </c:pt>
                <c:pt idx="122">
                  <c:v>33</c:v>
                </c:pt>
                <c:pt idx="123">
                  <c:v>65</c:v>
                </c:pt>
                <c:pt idx="124">
                  <c:v>39</c:v>
                </c:pt>
                <c:pt idx="125">
                  <c:v>289</c:v>
                </c:pt>
                <c:pt idx="126">
                  <c:v>149</c:v>
                </c:pt>
                <c:pt idx="127">
                  <c:v>121</c:v>
                </c:pt>
                <c:pt idx="128">
                  <c:v>109</c:v>
                </c:pt>
                <c:pt idx="129">
                  <c:v>133</c:v>
                </c:pt>
                <c:pt idx="130">
                  <c:v>57</c:v>
                </c:pt>
                <c:pt idx="131">
                  <c:v>27</c:v>
                </c:pt>
                <c:pt idx="132">
                  <c:v>244</c:v>
                </c:pt>
                <c:pt idx="133">
                  <c:v>100</c:v>
                </c:pt>
                <c:pt idx="134">
                  <c:v>112</c:v>
                </c:pt>
                <c:pt idx="135">
                  <c:v>58</c:v>
                </c:pt>
                <c:pt idx="136">
                  <c:v>71</c:v>
                </c:pt>
                <c:pt idx="137">
                  <c:v>36</c:v>
                </c:pt>
                <c:pt idx="138">
                  <c:v>29</c:v>
                </c:pt>
                <c:pt idx="139">
                  <c:v>131</c:v>
                </c:pt>
                <c:pt idx="140">
                  <c:v>77</c:v>
                </c:pt>
                <c:pt idx="141">
                  <c:v>73</c:v>
                </c:pt>
                <c:pt idx="142">
                  <c:v>69</c:v>
                </c:pt>
                <c:pt idx="143">
                  <c:v>83</c:v>
                </c:pt>
                <c:pt idx="144">
                  <c:v>28</c:v>
                </c:pt>
                <c:pt idx="145">
                  <c:v>14</c:v>
                </c:pt>
                <c:pt idx="146">
                  <c:v>91</c:v>
                </c:pt>
                <c:pt idx="147">
                  <c:v>79</c:v>
                </c:pt>
                <c:pt idx="148">
                  <c:v>60</c:v>
                </c:pt>
                <c:pt idx="149">
                  <c:v>34</c:v>
                </c:pt>
                <c:pt idx="150">
                  <c:v>49</c:v>
                </c:pt>
                <c:pt idx="151">
                  <c:v>31</c:v>
                </c:pt>
                <c:pt idx="152">
                  <c:v>14</c:v>
                </c:pt>
                <c:pt idx="153">
                  <c:v>83</c:v>
                </c:pt>
                <c:pt idx="154">
                  <c:v>76</c:v>
                </c:pt>
                <c:pt idx="155">
                  <c:v>59</c:v>
                </c:pt>
                <c:pt idx="156">
                  <c:v>47</c:v>
                </c:pt>
                <c:pt idx="157">
                  <c:v>49</c:v>
                </c:pt>
                <c:pt idx="158">
                  <c:v>12</c:v>
                </c:pt>
                <c:pt idx="159">
                  <c:v>18</c:v>
                </c:pt>
                <c:pt idx="160">
                  <c:v>75</c:v>
                </c:pt>
                <c:pt idx="161">
                  <c:v>22</c:v>
                </c:pt>
                <c:pt idx="162">
                  <c:v>34</c:v>
                </c:pt>
                <c:pt idx="163">
                  <c:v>42</c:v>
                </c:pt>
                <c:pt idx="164">
                  <c:v>40</c:v>
                </c:pt>
                <c:pt idx="165">
                  <c:v>15</c:v>
                </c:pt>
                <c:pt idx="166">
                  <c:v>15</c:v>
                </c:pt>
                <c:pt idx="167">
                  <c:v>65</c:v>
                </c:pt>
                <c:pt idx="168">
                  <c:v>34</c:v>
                </c:pt>
                <c:pt idx="169">
                  <c:v>36</c:v>
                </c:pt>
                <c:pt idx="170">
                  <c:v>35</c:v>
                </c:pt>
                <c:pt idx="171">
                  <c:v>40</c:v>
                </c:pt>
                <c:pt idx="172">
                  <c:v>7</c:v>
                </c:pt>
                <c:pt idx="173">
                  <c:v>22</c:v>
                </c:pt>
                <c:pt idx="174">
                  <c:v>80</c:v>
                </c:pt>
                <c:pt idx="175">
                  <c:v>48</c:v>
                </c:pt>
                <c:pt idx="176">
                  <c:v>35</c:v>
                </c:pt>
                <c:pt idx="177">
                  <c:v>34</c:v>
                </c:pt>
                <c:pt idx="178">
                  <c:v>44</c:v>
                </c:pt>
                <c:pt idx="179">
                  <c:v>11</c:v>
                </c:pt>
                <c:pt idx="180">
                  <c:v>10</c:v>
                </c:pt>
                <c:pt idx="181">
                  <c:v>62</c:v>
                </c:pt>
                <c:pt idx="182">
                  <c:v>42</c:v>
                </c:pt>
                <c:pt idx="183">
                  <c:v>57</c:v>
                </c:pt>
                <c:pt idx="184">
                  <c:v>47</c:v>
                </c:pt>
                <c:pt idx="185">
                  <c:v>35</c:v>
                </c:pt>
                <c:pt idx="186">
                  <c:v>14</c:v>
                </c:pt>
                <c:pt idx="187">
                  <c:v>12</c:v>
                </c:pt>
                <c:pt idx="188">
                  <c:v>65</c:v>
                </c:pt>
                <c:pt idx="189">
                  <c:v>38</c:v>
                </c:pt>
                <c:pt idx="190">
                  <c:v>30</c:v>
                </c:pt>
                <c:pt idx="191">
                  <c:v>30</c:v>
                </c:pt>
                <c:pt idx="192">
                  <c:v>20</c:v>
                </c:pt>
                <c:pt idx="193">
                  <c:v>12</c:v>
                </c:pt>
                <c:pt idx="194">
                  <c:v>7</c:v>
                </c:pt>
                <c:pt idx="195">
                  <c:v>41</c:v>
                </c:pt>
                <c:pt idx="196">
                  <c:v>26</c:v>
                </c:pt>
                <c:pt idx="197">
                  <c:v>27</c:v>
                </c:pt>
                <c:pt idx="198">
                  <c:v>16</c:v>
                </c:pt>
                <c:pt idx="199">
                  <c:v>23</c:v>
                </c:pt>
                <c:pt idx="200">
                  <c:v>2</c:v>
                </c:pt>
                <c:pt idx="201">
                  <c:v>5</c:v>
                </c:pt>
                <c:pt idx="202">
                  <c:v>36</c:v>
                </c:pt>
                <c:pt idx="203">
                  <c:v>20</c:v>
                </c:pt>
                <c:pt idx="204">
                  <c:v>10</c:v>
                </c:pt>
                <c:pt idx="205">
                  <c:v>10</c:v>
                </c:pt>
                <c:pt idx="206">
                  <c:v>17</c:v>
                </c:pt>
                <c:pt idx="207">
                  <c:v>3</c:v>
                </c:pt>
                <c:pt idx="208">
                  <c:v>1</c:v>
                </c:pt>
                <c:pt idx="209">
                  <c:v>24</c:v>
                </c:pt>
                <c:pt idx="210">
                  <c:v>19</c:v>
                </c:pt>
                <c:pt idx="211">
                  <c:v>14</c:v>
                </c:pt>
                <c:pt idx="212">
                  <c:v>12</c:v>
                </c:pt>
                <c:pt idx="213">
                  <c:v>5</c:v>
                </c:pt>
                <c:pt idx="214">
                  <c:v>4</c:v>
                </c:pt>
                <c:pt idx="215">
                  <c:v>2</c:v>
                </c:pt>
                <c:pt idx="216">
                  <c:v>7</c:v>
                </c:pt>
                <c:pt idx="217">
                  <c:v>22</c:v>
                </c:pt>
                <c:pt idx="218">
                  <c:v>18</c:v>
                </c:pt>
                <c:pt idx="219">
                  <c:v>16</c:v>
                </c:pt>
                <c:pt idx="220">
                  <c:v>8</c:v>
                </c:pt>
                <c:pt idx="221">
                  <c:v>6</c:v>
                </c:pt>
                <c:pt idx="222">
                  <c:v>1</c:v>
                </c:pt>
                <c:pt idx="223">
                  <c:v>9</c:v>
                </c:pt>
                <c:pt idx="224">
                  <c:v>7</c:v>
                </c:pt>
                <c:pt idx="225">
                  <c:v>5</c:v>
                </c:pt>
                <c:pt idx="226">
                  <c:v>6</c:v>
                </c:pt>
                <c:pt idx="227">
                  <c:v>7</c:v>
                </c:pt>
                <c:pt idx="228">
                  <c:v>1</c:v>
                </c:pt>
                <c:pt idx="229">
                  <c:v>1</c:v>
                </c:pt>
                <c:pt idx="230">
                  <c:v>12</c:v>
                </c:pt>
                <c:pt idx="231">
                  <c:v>7</c:v>
                </c:pt>
                <c:pt idx="232">
                  <c:v>5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8</c:v>
                </c:pt>
                <c:pt idx="238">
                  <c:v>9</c:v>
                </c:pt>
                <c:pt idx="239">
                  <c:v>4</c:v>
                </c:pt>
                <c:pt idx="240">
                  <c:v>2</c:v>
                </c:pt>
                <c:pt idx="241">
                  <c:v>5</c:v>
                </c:pt>
                <c:pt idx="242">
                  <c:v>0</c:v>
                </c:pt>
                <c:pt idx="243">
                  <c:v>1</c:v>
                </c:pt>
                <c:pt idx="244">
                  <c:v>4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3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5</c:v>
                </c:pt>
                <c:pt idx="259">
                  <c:v>5</c:v>
                </c:pt>
                <c:pt idx="260">
                  <c:v>2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5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4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7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11</c:v>
                </c:pt>
                <c:pt idx="415">
                  <c:v>7</c:v>
                </c:pt>
                <c:pt idx="416">
                  <c:v>11</c:v>
                </c:pt>
                <c:pt idx="417">
                  <c:v>0</c:v>
                </c:pt>
                <c:pt idx="418">
                  <c:v>4</c:v>
                </c:pt>
                <c:pt idx="419">
                  <c:v>20</c:v>
                </c:pt>
                <c:pt idx="420">
                  <c:v>6</c:v>
                </c:pt>
                <c:pt idx="421">
                  <c:v>18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6</c:v>
                </c:pt>
                <c:pt idx="428">
                  <c:v>21</c:v>
                </c:pt>
                <c:pt idx="429">
                  <c:v>25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2</c:v>
                </c:pt>
                <c:pt idx="434">
                  <c:v>28</c:v>
                </c:pt>
                <c:pt idx="435">
                  <c:v>31</c:v>
                </c:pt>
                <c:pt idx="436">
                  <c:v>38</c:v>
                </c:pt>
                <c:pt idx="437">
                  <c:v>34</c:v>
                </c:pt>
                <c:pt idx="438">
                  <c:v>20</c:v>
                </c:pt>
                <c:pt idx="439">
                  <c:v>14</c:v>
                </c:pt>
                <c:pt idx="440">
                  <c:v>58</c:v>
                </c:pt>
                <c:pt idx="441">
                  <c:v>34</c:v>
                </c:pt>
                <c:pt idx="442">
                  <c:v>14</c:v>
                </c:pt>
                <c:pt idx="443">
                  <c:v>42</c:v>
                </c:pt>
                <c:pt idx="444">
                  <c:v>52</c:v>
                </c:pt>
                <c:pt idx="445">
                  <c:v>13</c:v>
                </c:pt>
                <c:pt idx="446">
                  <c:v>7</c:v>
                </c:pt>
                <c:pt idx="447">
                  <c:v>74</c:v>
                </c:pt>
                <c:pt idx="448">
                  <c:v>44</c:v>
                </c:pt>
                <c:pt idx="449">
                  <c:v>49</c:v>
                </c:pt>
                <c:pt idx="450">
                  <c:v>49</c:v>
                </c:pt>
                <c:pt idx="451">
                  <c:v>50</c:v>
                </c:pt>
                <c:pt idx="452">
                  <c:v>22</c:v>
                </c:pt>
                <c:pt idx="453">
                  <c:v>7</c:v>
                </c:pt>
                <c:pt idx="454">
                  <c:v>45</c:v>
                </c:pt>
                <c:pt idx="455">
                  <c:v>48</c:v>
                </c:pt>
                <c:pt idx="456">
                  <c:v>43</c:v>
                </c:pt>
                <c:pt idx="457">
                  <c:v>33</c:v>
                </c:pt>
                <c:pt idx="458">
                  <c:v>30</c:v>
                </c:pt>
                <c:pt idx="459">
                  <c:v>21</c:v>
                </c:pt>
                <c:pt idx="460">
                  <c:v>10</c:v>
                </c:pt>
                <c:pt idx="461">
                  <c:v>50</c:v>
                </c:pt>
                <c:pt idx="462">
                  <c:v>36</c:v>
                </c:pt>
                <c:pt idx="463">
                  <c:v>35</c:v>
                </c:pt>
                <c:pt idx="464">
                  <c:v>26</c:v>
                </c:pt>
                <c:pt idx="465">
                  <c:v>19</c:v>
                </c:pt>
                <c:pt idx="466">
                  <c:v>13</c:v>
                </c:pt>
                <c:pt idx="467">
                  <c:v>9</c:v>
                </c:pt>
                <c:pt idx="468">
                  <c:v>32</c:v>
                </c:pt>
                <c:pt idx="469">
                  <c:v>36</c:v>
                </c:pt>
                <c:pt idx="470">
                  <c:v>28</c:v>
                </c:pt>
                <c:pt idx="471">
                  <c:v>18</c:v>
                </c:pt>
                <c:pt idx="472">
                  <c:v>15</c:v>
                </c:pt>
                <c:pt idx="473">
                  <c:v>8</c:v>
                </c:pt>
                <c:pt idx="474">
                  <c:v>10</c:v>
                </c:pt>
                <c:pt idx="475">
                  <c:v>27</c:v>
                </c:pt>
                <c:pt idx="476">
                  <c:v>13</c:v>
                </c:pt>
                <c:pt idx="477">
                  <c:v>9</c:v>
                </c:pt>
                <c:pt idx="478">
                  <c:v>4</c:v>
                </c:pt>
                <c:pt idx="479">
                  <c:v>7</c:v>
                </c:pt>
                <c:pt idx="480">
                  <c:v>3</c:v>
                </c:pt>
                <c:pt idx="481">
                  <c:v>5</c:v>
                </c:pt>
                <c:pt idx="482">
                  <c:v>10</c:v>
                </c:pt>
                <c:pt idx="483">
                  <c:v>17</c:v>
                </c:pt>
                <c:pt idx="484">
                  <c:v>9</c:v>
                </c:pt>
                <c:pt idx="485">
                  <c:v>10</c:v>
                </c:pt>
                <c:pt idx="486">
                  <c:v>6</c:v>
                </c:pt>
                <c:pt idx="487">
                  <c:v>0</c:v>
                </c:pt>
                <c:pt idx="488">
                  <c:v>4</c:v>
                </c:pt>
                <c:pt idx="489">
                  <c:v>20</c:v>
                </c:pt>
                <c:pt idx="490">
                  <c:v>14</c:v>
                </c:pt>
                <c:pt idx="491">
                  <c:v>5</c:v>
                </c:pt>
                <c:pt idx="492">
                  <c:v>9</c:v>
                </c:pt>
                <c:pt idx="493">
                  <c:v>11</c:v>
                </c:pt>
                <c:pt idx="494">
                  <c:v>3</c:v>
                </c:pt>
                <c:pt idx="495">
                  <c:v>3</c:v>
                </c:pt>
                <c:pt idx="496">
                  <c:v>18</c:v>
                </c:pt>
                <c:pt idx="497">
                  <c:v>11</c:v>
                </c:pt>
                <c:pt idx="498">
                  <c:v>9</c:v>
                </c:pt>
                <c:pt idx="499">
                  <c:v>13</c:v>
                </c:pt>
                <c:pt idx="500">
                  <c:v>12</c:v>
                </c:pt>
                <c:pt idx="501">
                  <c:v>6</c:v>
                </c:pt>
                <c:pt idx="502">
                  <c:v>11</c:v>
                </c:pt>
                <c:pt idx="503">
                  <c:v>47</c:v>
                </c:pt>
                <c:pt idx="504">
                  <c:v>35</c:v>
                </c:pt>
                <c:pt idx="505">
                  <c:v>41</c:v>
                </c:pt>
                <c:pt idx="506">
                  <c:v>46</c:v>
                </c:pt>
                <c:pt idx="507">
                  <c:v>68</c:v>
                </c:pt>
                <c:pt idx="508">
                  <c:v>20</c:v>
                </c:pt>
                <c:pt idx="509">
                  <c:v>15</c:v>
                </c:pt>
                <c:pt idx="510">
                  <c:v>93</c:v>
                </c:pt>
                <c:pt idx="511">
                  <c:v>103</c:v>
                </c:pt>
                <c:pt idx="512">
                  <c:v>97</c:v>
                </c:pt>
                <c:pt idx="513">
                  <c:v>59</c:v>
                </c:pt>
                <c:pt idx="514">
                  <c:v>74</c:v>
                </c:pt>
                <c:pt idx="515">
                  <c:v>30</c:v>
                </c:pt>
                <c:pt idx="516">
                  <c:v>31</c:v>
                </c:pt>
                <c:pt idx="517">
                  <c:v>116</c:v>
                </c:pt>
                <c:pt idx="518">
                  <c:v>116</c:v>
                </c:pt>
                <c:pt idx="519">
                  <c:v>81</c:v>
                </c:pt>
                <c:pt idx="520">
                  <c:v>68</c:v>
                </c:pt>
                <c:pt idx="521">
                  <c:v>83</c:v>
                </c:pt>
                <c:pt idx="522">
                  <c:v>32</c:v>
                </c:pt>
                <c:pt idx="523">
                  <c:v>23</c:v>
                </c:pt>
                <c:pt idx="524">
                  <c:v>132</c:v>
                </c:pt>
                <c:pt idx="525">
                  <c:v>86</c:v>
                </c:pt>
                <c:pt idx="526">
                  <c:v>66</c:v>
                </c:pt>
                <c:pt idx="527">
                  <c:v>67</c:v>
                </c:pt>
                <c:pt idx="528">
                  <c:v>56</c:v>
                </c:pt>
                <c:pt idx="529">
                  <c:v>36</c:v>
                </c:pt>
                <c:pt idx="530">
                  <c:v>26</c:v>
                </c:pt>
                <c:pt idx="531">
                  <c:v>74</c:v>
                </c:pt>
                <c:pt idx="532">
                  <c:v>109</c:v>
                </c:pt>
                <c:pt idx="533">
                  <c:v>78</c:v>
                </c:pt>
                <c:pt idx="534">
                  <c:v>55</c:v>
                </c:pt>
                <c:pt idx="535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W$1</c:f>
              <c:strCache>
                <c:ptCount val="22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  <c:pt idx="20">
                  <c:v>01/2022</c:v>
                </c:pt>
                <c:pt idx="21">
                  <c:v>02/2022</c:v>
                </c:pt>
              </c:strCache>
            </c:strRef>
          </c:cat>
          <c:val>
            <c:numRef>
              <c:f>List1!$B$2:$W$2</c:f>
              <c:numCache>
                <c:formatCode>General</c:formatCode>
                <c:ptCount val="22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2</c:v>
                </c:pt>
                <c:pt idx="18">
                  <c:v>645</c:v>
                </c:pt>
                <c:pt idx="19">
                  <c:v>592</c:v>
                </c:pt>
                <c:pt idx="20">
                  <c:v>655</c:v>
                </c:pt>
                <c:pt idx="21">
                  <c:v>1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37</c:f>
              <c:numCache>
                <c:formatCode>m/d/yyyy</c:formatCode>
                <c:ptCount val="5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</c:numCache>
            </c:numRef>
          </c:cat>
          <c:val>
            <c:numRef>
              <c:f>Sheet1!$B$2:$B$537</c:f>
              <c:numCache>
                <c:formatCode>#\ ##0_ ;\-#\ ##0\ </c:formatCode>
                <c:ptCount val="536"/>
                <c:pt idx="0">
                  <c:v>8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5</c:v>
                </c:pt>
                <c:pt idx="12">
                  <c:v>1</c:v>
                </c:pt>
                <c:pt idx="13">
                  <c:v>4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2</c:v>
                </c:pt>
                <c:pt idx="19">
                  <c:v>7</c:v>
                </c:pt>
                <c:pt idx="20">
                  <c:v>6</c:v>
                </c:pt>
                <c:pt idx="21">
                  <c:v>7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9</c:v>
                </c:pt>
                <c:pt idx="28">
                  <c:v>30</c:v>
                </c:pt>
                <c:pt idx="29">
                  <c:v>38</c:v>
                </c:pt>
                <c:pt idx="30">
                  <c:v>61</c:v>
                </c:pt>
                <c:pt idx="31">
                  <c:v>158</c:v>
                </c:pt>
                <c:pt idx="32">
                  <c:v>67</c:v>
                </c:pt>
                <c:pt idx="33">
                  <c:v>85</c:v>
                </c:pt>
                <c:pt idx="34">
                  <c:v>264</c:v>
                </c:pt>
                <c:pt idx="35">
                  <c:v>133</c:v>
                </c:pt>
                <c:pt idx="36">
                  <c:v>88</c:v>
                </c:pt>
                <c:pt idx="37">
                  <c:v>165</c:v>
                </c:pt>
                <c:pt idx="38">
                  <c:v>232</c:v>
                </c:pt>
                <c:pt idx="39">
                  <c:v>81</c:v>
                </c:pt>
                <c:pt idx="40">
                  <c:v>39</c:v>
                </c:pt>
                <c:pt idx="41">
                  <c:v>312</c:v>
                </c:pt>
                <c:pt idx="42">
                  <c:v>387</c:v>
                </c:pt>
                <c:pt idx="43">
                  <c:v>380</c:v>
                </c:pt>
                <c:pt idx="44">
                  <c:v>409</c:v>
                </c:pt>
                <c:pt idx="45">
                  <c:v>419</c:v>
                </c:pt>
                <c:pt idx="46">
                  <c:v>263</c:v>
                </c:pt>
                <c:pt idx="47">
                  <c:v>90</c:v>
                </c:pt>
                <c:pt idx="48">
                  <c:v>442</c:v>
                </c:pt>
                <c:pt idx="49">
                  <c:v>402</c:v>
                </c:pt>
                <c:pt idx="50">
                  <c:v>598</c:v>
                </c:pt>
                <c:pt idx="51">
                  <c:v>475</c:v>
                </c:pt>
                <c:pt idx="52">
                  <c:v>765</c:v>
                </c:pt>
                <c:pt idx="53">
                  <c:v>418</c:v>
                </c:pt>
                <c:pt idx="54">
                  <c:v>288</c:v>
                </c:pt>
                <c:pt idx="55">
                  <c:v>772</c:v>
                </c:pt>
                <c:pt idx="56">
                  <c:v>954</c:v>
                </c:pt>
                <c:pt idx="57">
                  <c:v>400</c:v>
                </c:pt>
                <c:pt idx="58">
                  <c:v>1027</c:v>
                </c:pt>
                <c:pt idx="59">
                  <c:v>934</c:v>
                </c:pt>
                <c:pt idx="60">
                  <c:v>525</c:v>
                </c:pt>
                <c:pt idx="61">
                  <c:v>334</c:v>
                </c:pt>
                <c:pt idx="62">
                  <c:v>651</c:v>
                </c:pt>
                <c:pt idx="63">
                  <c:v>591</c:v>
                </c:pt>
                <c:pt idx="64">
                  <c:v>769</c:v>
                </c:pt>
                <c:pt idx="65">
                  <c:v>830</c:v>
                </c:pt>
                <c:pt idx="66">
                  <c:v>737</c:v>
                </c:pt>
                <c:pt idx="67">
                  <c:v>335</c:v>
                </c:pt>
                <c:pt idx="68">
                  <c:v>130</c:v>
                </c:pt>
                <c:pt idx="69">
                  <c:v>413</c:v>
                </c:pt>
                <c:pt idx="70">
                  <c:v>596</c:v>
                </c:pt>
                <c:pt idx="71">
                  <c:v>951</c:v>
                </c:pt>
                <c:pt idx="72">
                  <c:v>747</c:v>
                </c:pt>
                <c:pt idx="73">
                  <c:v>694</c:v>
                </c:pt>
                <c:pt idx="74">
                  <c:v>256</c:v>
                </c:pt>
                <c:pt idx="75">
                  <c:v>201</c:v>
                </c:pt>
                <c:pt idx="76">
                  <c:v>585</c:v>
                </c:pt>
                <c:pt idx="77">
                  <c:v>190</c:v>
                </c:pt>
                <c:pt idx="78">
                  <c:v>436</c:v>
                </c:pt>
                <c:pt idx="79">
                  <c:v>406</c:v>
                </c:pt>
                <c:pt idx="80">
                  <c:v>369</c:v>
                </c:pt>
                <c:pt idx="81">
                  <c:v>136</c:v>
                </c:pt>
                <c:pt idx="82">
                  <c:v>110</c:v>
                </c:pt>
                <c:pt idx="83">
                  <c:v>532</c:v>
                </c:pt>
                <c:pt idx="84">
                  <c:v>312</c:v>
                </c:pt>
                <c:pt idx="85">
                  <c:v>226</c:v>
                </c:pt>
                <c:pt idx="86">
                  <c:v>257</c:v>
                </c:pt>
                <c:pt idx="87">
                  <c:v>222</c:v>
                </c:pt>
                <c:pt idx="88">
                  <c:v>101</c:v>
                </c:pt>
                <c:pt idx="89">
                  <c:v>46</c:v>
                </c:pt>
                <c:pt idx="90">
                  <c:v>325</c:v>
                </c:pt>
                <c:pt idx="91">
                  <c:v>215</c:v>
                </c:pt>
                <c:pt idx="92">
                  <c:v>208</c:v>
                </c:pt>
                <c:pt idx="93">
                  <c:v>193</c:v>
                </c:pt>
                <c:pt idx="94">
                  <c:v>241</c:v>
                </c:pt>
                <c:pt idx="95">
                  <c:v>131</c:v>
                </c:pt>
                <c:pt idx="96">
                  <c:v>49</c:v>
                </c:pt>
                <c:pt idx="97">
                  <c:v>264</c:v>
                </c:pt>
                <c:pt idx="98">
                  <c:v>170</c:v>
                </c:pt>
                <c:pt idx="99">
                  <c:v>206</c:v>
                </c:pt>
                <c:pt idx="100">
                  <c:v>145</c:v>
                </c:pt>
                <c:pt idx="101">
                  <c:v>313</c:v>
                </c:pt>
                <c:pt idx="102">
                  <c:v>89</c:v>
                </c:pt>
                <c:pt idx="103">
                  <c:v>67</c:v>
                </c:pt>
                <c:pt idx="104">
                  <c:v>290</c:v>
                </c:pt>
                <c:pt idx="105">
                  <c:v>206</c:v>
                </c:pt>
                <c:pt idx="106">
                  <c:v>198</c:v>
                </c:pt>
                <c:pt idx="107">
                  <c:v>122</c:v>
                </c:pt>
                <c:pt idx="108">
                  <c:v>309</c:v>
                </c:pt>
                <c:pt idx="109">
                  <c:v>93</c:v>
                </c:pt>
                <c:pt idx="110">
                  <c:v>51</c:v>
                </c:pt>
                <c:pt idx="111">
                  <c:v>346</c:v>
                </c:pt>
                <c:pt idx="112">
                  <c:v>294</c:v>
                </c:pt>
                <c:pt idx="113">
                  <c:v>246</c:v>
                </c:pt>
                <c:pt idx="114">
                  <c:v>50</c:v>
                </c:pt>
                <c:pt idx="115">
                  <c:v>123</c:v>
                </c:pt>
                <c:pt idx="116">
                  <c:v>132</c:v>
                </c:pt>
                <c:pt idx="117">
                  <c:v>147</c:v>
                </c:pt>
                <c:pt idx="118">
                  <c:v>362</c:v>
                </c:pt>
                <c:pt idx="119">
                  <c:v>334</c:v>
                </c:pt>
                <c:pt idx="120">
                  <c:v>259</c:v>
                </c:pt>
                <c:pt idx="121">
                  <c:v>227</c:v>
                </c:pt>
                <c:pt idx="122">
                  <c:v>100</c:v>
                </c:pt>
                <c:pt idx="123">
                  <c:v>126</c:v>
                </c:pt>
                <c:pt idx="124">
                  <c:v>81</c:v>
                </c:pt>
                <c:pt idx="125">
                  <c:v>559</c:v>
                </c:pt>
                <c:pt idx="126">
                  <c:v>304</c:v>
                </c:pt>
                <c:pt idx="127">
                  <c:v>284</c:v>
                </c:pt>
                <c:pt idx="128">
                  <c:v>343</c:v>
                </c:pt>
                <c:pt idx="129">
                  <c:v>321</c:v>
                </c:pt>
                <c:pt idx="130">
                  <c:v>122</c:v>
                </c:pt>
                <c:pt idx="131">
                  <c:v>60</c:v>
                </c:pt>
                <c:pt idx="132">
                  <c:v>487</c:v>
                </c:pt>
                <c:pt idx="133">
                  <c:v>227</c:v>
                </c:pt>
                <c:pt idx="134">
                  <c:v>287</c:v>
                </c:pt>
                <c:pt idx="135">
                  <c:v>155</c:v>
                </c:pt>
                <c:pt idx="136">
                  <c:v>158</c:v>
                </c:pt>
                <c:pt idx="137">
                  <c:v>71</c:v>
                </c:pt>
                <c:pt idx="138">
                  <c:v>75</c:v>
                </c:pt>
                <c:pt idx="139">
                  <c:v>296</c:v>
                </c:pt>
                <c:pt idx="140">
                  <c:v>159</c:v>
                </c:pt>
                <c:pt idx="141">
                  <c:v>220</c:v>
                </c:pt>
                <c:pt idx="142">
                  <c:v>177</c:v>
                </c:pt>
                <c:pt idx="143">
                  <c:v>201</c:v>
                </c:pt>
                <c:pt idx="144">
                  <c:v>81</c:v>
                </c:pt>
                <c:pt idx="145">
                  <c:v>40</c:v>
                </c:pt>
                <c:pt idx="146">
                  <c:v>177</c:v>
                </c:pt>
                <c:pt idx="147">
                  <c:v>122</c:v>
                </c:pt>
                <c:pt idx="148">
                  <c:v>156</c:v>
                </c:pt>
                <c:pt idx="149">
                  <c:v>101</c:v>
                </c:pt>
                <c:pt idx="150">
                  <c:v>86</c:v>
                </c:pt>
                <c:pt idx="151">
                  <c:v>80</c:v>
                </c:pt>
                <c:pt idx="152">
                  <c:v>24</c:v>
                </c:pt>
                <c:pt idx="153">
                  <c:v>191</c:v>
                </c:pt>
                <c:pt idx="154">
                  <c:v>173</c:v>
                </c:pt>
                <c:pt idx="155">
                  <c:v>162</c:v>
                </c:pt>
                <c:pt idx="156">
                  <c:v>131</c:v>
                </c:pt>
                <c:pt idx="157">
                  <c:v>134</c:v>
                </c:pt>
                <c:pt idx="158">
                  <c:v>56</c:v>
                </c:pt>
                <c:pt idx="159">
                  <c:v>34</c:v>
                </c:pt>
                <c:pt idx="160">
                  <c:v>141</c:v>
                </c:pt>
                <c:pt idx="161">
                  <c:v>88</c:v>
                </c:pt>
                <c:pt idx="162">
                  <c:v>101</c:v>
                </c:pt>
                <c:pt idx="163">
                  <c:v>111</c:v>
                </c:pt>
                <c:pt idx="164">
                  <c:v>92</c:v>
                </c:pt>
                <c:pt idx="165">
                  <c:v>23</c:v>
                </c:pt>
                <c:pt idx="166">
                  <c:v>29</c:v>
                </c:pt>
                <c:pt idx="167">
                  <c:v>102</c:v>
                </c:pt>
                <c:pt idx="168">
                  <c:v>53</c:v>
                </c:pt>
                <c:pt idx="169">
                  <c:v>66</c:v>
                </c:pt>
                <c:pt idx="170">
                  <c:v>65</c:v>
                </c:pt>
                <c:pt idx="171">
                  <c:v>68</c:v>
                </c:pt>
                <c:pt idx="172">
                  <c:v>25</c:v>
                </c:pt>
                <c:pt idx="173">
                  <c:v>29</c:v>
                </c:pt>
                <c:pt idx="174">
                  <c:v>172</c:v>
                </c:pt>
                <c:pt idx="175">
                  <c:v>84</c:v>
                </c:pt>
                <c:pt idx="176">
                  <c:v>69</c:v>
                </c:pt>
                <c:pt idx="177">
                  <c:v>80</c:v>
                </c:pt>
                <c:pt idx="178">
                  <c:v>92</c:v>
                </c:pt>
                <c:pt idx="179">
                  <c:v>21</c:v>
                </c:pt>
                <c:pt idx="180">
                  <c:v>13</c:v>
                </c:pt>
                <c:pt idx="181">
                  <c:v>140</c:v>
                </c:pt>
                <c:pt idx="182">
                  <c:v>70</c:v>
                </c:pt>
                <c:pt idx="183">
                  <c:v>103</c:v>
                </c:pt>
                <c:pt idx="184">
                  <c:v>58</c:v>
                </c:pt>
                <c:pt idx="185">
                  <c:v>59</c:v>
                </c:pt>
                <c:pt idx="186">
                  <c:v>19</c:v>
                </c:pt>
                <c:pt idx="187">
                  <c:v>18</c:v>
                </c:pt>
                <c:pt idx="188">
                  <c:v>92</c:v>
                </c:pt>
                <c:pt idx="189">
                  <c:v>140</c:v>
                </c:pt>
                <c:pt idx="190">
                  <c:v>89</c:v>
                </c:pt>
                <c:pt idx="191">
                  <c:v>43</c:v>
                </c:pt>
                <c:pt idx="192">
                  <c:v>54</c:v>
                </c:pt>
                <c:pt idx="193">
                  <c:v>21</c:v>
                </c:pt>
                <c:pt idx="194">
                  <c:v>14</c:v>
                </c:pt>
                <c:pt idx="195">
                  <c:v>70</c:v>
                </c:pt>
                <c:pt idx="196">
                  <c:v>47</c:v>
                </c:pt>
                <c:pt idx="197">
                  <c:v>39</c:v>
                </c:pt>
                <c:pt idx="198">
                  <c:v>53</c:v>
                </c:pt>
                <c:pt idx="199">
                  <c:v>41</c:v>
                </c:pt>
                <c:pt idx="200">
                  <c:v>11</c:v>
                </c:pt>
                <c:pt idx="201">
                  <c:v>9</c:v>
                </c:pt>
                <c:pt idx="202">
                  <c:v>50</c:v>
                </c:pt>
                <c:pt idx="203">
                  <c:v>50</c:v>
                </c:pt>
                <c:pt idx="204">
                  <c:v>30</c:v>
                </c:pt>
                <c:pt idx="205">
                  <c:v>41</c:v>
                </c:pt>
                <c:pt idx="206">
                  <c:v>23</c:v>
                </c:pt>
                <c:pt idx="207">
                  <c:v>6</c:v>
                </c:pt>
                <c:pt idx="208">
                  <c:v>5</c:v>
                </c:pt>
                <c:pt idx="209">
                  <c:v>47</c:v>
                </c:pt>
                <c:pt idx="210">
                  <c:v>32</c:v>
                </c:pt>
                <c:pt idx="211">
                  <c:v>25</c:v>
                </c:pt>
                <c:pt idx="212">
                  <c:v>23</c:v>
                </c:pt>
                <c:pt idx="213">
                  <c:v>9</c:v>
                </c:pt>
                <c:pt idx="214">
                  <c:v>8</c:v>
                </c:pt>
                <c:pt idx="215">
                  <c:v>4</c:v>
                </c:pt>
                <c:pt idx="216">
                  <c:v>8</c:v>
                </c:pt>
                <c:pt idx="217">
                  <c:v>27</c:v>
                </c:pt>
                <c:pt idx="218">
                  <c:v>37</c:v>
                </c:pt>
                <c:pt idx="219">
                  <c:v>18</c:v>
                </c:pt>
                <c:pt idx="220">
                  <c:v>11</c:v>
                </c:pt>
                <c:pt idx="221">
                  <c:v>7</c:v>
                </c:pt>
                <c:pt idx="222">
                  <c:v>1</c:v>
                </c:pt>
                <c:pt idx="223">
                  <c:v>10</c:v>
                </c:pt>
                <c:pt idx="224">
                  <c:v>9</c:v>
                </c:pt>
                <c:pt idx="225">
                  <c:v>7</c:v>
                </c:pt>
                <c:pt idx="226">
                  <c:v>10</c:v>
                </c:pt>
                <c:pt idx="227">
                  <c:v>8</c:v>
                </c:pt>
                <c:pt idx="228">
                  <c:v>2</c:v>
                </c:pt>
                <c:pt idx="229">
                  <c:v>3</c:v>
                </c:pt>
                <c:pt idx="230">
                  <c:v>17</c:v>
                </c:pt>
                <c:pt idx="231">
                  <c:v>12</c:v>
                </c:pt>
                <c:pt idx="232">
                  <c:v>8</c:v>
                </c:pt>
                <c:pt idx="233">
                  <c:v>15</c:v>
                </c:pt>
                <c:pt idx="234">
                  <c:v>10</c:v>
                </c:pt>
                <c:pt idx="235">
                  <c:v>2</c:v>
                </c:pt>
                <c:pt idx="236">
                  <c:v>0</c:v>
                </c:pt>
                <c:pt idx="237">
                  <c:v>10</c:v>
                </c:pt>
                <c:pt idx="238">
                  <c:v>13</c:v>
                </c:pt>
                <c:pt idx="239">
                  <c:v>5</c:v>
                </c:pt>
                <c:pt idx="240">
                  <c:v>4</c:v>
                </c:pt>
                <c:pt idx="241">
                  <c:v>6</c:v>
                </c:pt>
                <c:pt idx="242">
                  <c:v>0</c:v>
                </c:pt>
                <c:pt idx="243">
                  <c:v>1</c:v>
                </c:pt>
                <c:pt idx="244">
                  <c:v>6</c:v>
                </c:pt>
                <c:pt idx="245">
                  <c:v>2</c:v>
                </c:pt>
                <c:pt idx="246">
                  <c:v>4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8</c:v>
                </c:pt>
                <c:pt idx="252">
                  <c:v>6</c:v>
                </c:pt>
                <c:pt idx="253">
                  <c:v>0</c:v>
                </c:pt>
                <c:pt idx="254">
                  <c:v>5</c:v>
                </c:pt>
                <c:pt idx="255">
                  <c:v>6</c:v>
                </c:pt>
                <c:pt idx="256">
                  <c:v>1</c:v>
                </c:pt>
                <c:pt idx="257">
                  <c:v>0</c:v>
                </c:pt>
                <c:pt idx="258">
                  <c:v>8</c:v>
                </c:pt>
                <c:pt idx="259">
                  <c:v>5</c:v>
                </c:pt>
                <c:pt idx="260">
                  <c:v>4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3</c:v>
                </c:pt>
                <c:pt idx="275">
                  <c:v>3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2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6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6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4</c:v>
                </c:pt>
                <c:pt idx="407">
                  <c:v>21</c:v>
                </c:pt>
                <c:pt idx="408">
                  <c:v>6</c:v>
                </c:pt>
                <c:pt idx="409">
                  <c:v>9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3</c:v>
                </c:pt>
                <c:pt idx="414">
                  <c:v>15</c:v>
                </c:pt>
                <c:pt idx="415">
                  <c:v>9</c:v>
                </c:pt>
                <c:pt idx="416">
                  <c:v>16</c:v>
                </c:pt>
                <c:pt idx="417">
                  <c:v>1</c:v>
                </c:pt>
                <c:pt idx="418">
                  <c:v>5</c:v>
                </c:pt>
                <c:pt idx="419">
                  <c:v>34</c:v>
                </c:pt>
                <c:pt idx="420">
                  <c:v>15</c:v>
                </c:pt>
                <c:pt idx="421">
                  <c:v>29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6</c:v>
                </c:pt>
                <c:pt idx="427">
                  <c:v>41</c:v>
                </c:pt>
                <c:pt idx="428">
                  <c:v>37</c:v>
                </c:pt>
                <c:pt idx="429">
                  <c:v>78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82</c:v>
                </c:pt>
                <c:pt idx="434">
                  <c:v>57</c:v>
                </c:pt>
                <c:pt idx="435">
                  <c:v>47</c:v>
                </c:pt>
                <c:pt idx="436">
                  <c:v>56</c:v>
                </c:pt>
                <c:pt idx="437">
                  <c:v>51</c:v>
                </c:pt>
                <c:pt idx="438">
                  <c:v>33</c:v>
                </c:pt>
                <c:pt idx="439">
                  <c:v>28</c:v>
                </c:pt>
                <c:pt idx="440">
                  <c:v>101</c:v>
                </c:pt>
                <c:pt idx="441">
                  <c:v>66</c:v>
                </c:pt>
                <c:pt idx="442">
                  <c:v>39</c:v>
                </c:pt>
                <c:pt idx="443">
                  <c:v>98</c:v>
                </c:pt>
                <c:pt idx="444">
                  <c:v>137</c:v>
                </c:pt>
                <c:pt idx="445">
                  <c:v>39</c:v>
                </c:pt>
                <c:pt idx="446">
                  <c:v>16</c:v>
                </c:pt>
                <c:pt idx="447">
                  <c:v>124</c:v>
                </c:pt>
                <c:pt idx="448">
                  <c:v>67</c:v>
                </c:pt>
                <c:pt idx="449">
                  <c:v>91</c:v>
                </c:pt>
                <c:pt idx="450">
                  <c:v>78</c:v>
                </c:pt>
                <c:pt idx="451">
                  <c:v>103</c:v>
                </c:pt>
                <c:pt idx="452">
                  <c:v>27</c:v>
                </c:pt>
                <c:pt idx="453">
                  <c:v>14</c:v>
                </c:pt>
                <c:pt idx="454">
                  <c:v>89</c:v>
                </c:pt>
                <c:pt idx="455">
                  <c:v>62</c:v>
                </c:pt>
                <c:pt idx="456">
                  <c:v>73</c:v>
                </c:pt>
                <c:pt idx="457">
                  <c:v>64</c:v>
                </c:pt>
                <c:pt idx="458">
                  <c:v>43</c:v>
                </c:pt>
                <c:pt idx="459">
                  <c:v>59</c:v>
                </c:pt>
                <c:pt idx="460">
                  <c:v>17</c:v>
                </c:pt>
                <c:pt idx="461">
                  <c:v>80</c:v>
                </c:pt>
                <c:pt idx="462">
                  <c:v>58</c:v>
                </c:pt>
                <c:pt idx="463">
                  <c:v>53</c:v>
                </c:pt>
                <c:pt idx="464">
                  <c:v>57</c:v>
                </c:pt>
                <c:pt idx="465">
                  <c:v>49</c:v>
                </c:pt>
                <c:pt idx="466">
                  <c:v>19</c:v>
                </c:pt>
                <c:pt idx="467">
                  <c:v>9</c:v>
                </c:pt>
                <c:pt idx="468">
                  <c:v>48</c:v>
                </c:pt>
                <c:pt idx="469">
                  <c:v>63</c:v>
                </c:pt>
                <c:pt idx="470">
                  <c:v>44</c:v>
                </c:pt>
                <c:pt idx="471">
                  <c:v>25</c:v>
                </c:pt>
                <c:pt idx="472">
                  <c:v>27</c:v>
                </c:pt>
                <c:pt idx="473">
                  <c:v>10</c:v>
                </c:pt>
                <c:pt idx="474">
                  <c:v>13</c:v>
                </c:pt>
                <c:pt idx="475">
                  <c:v>43</c:v>
                </c:pt>
                <c:pt idx="476">
                  <c:v>21</c:v>
                </c:pt>
                <c:pt idx="477">
                  <c:v>12</c:v>
                </c:pt>
                <c:pt idx="478">
                  <c:v>9</c:v>
                </c:pt>
                <c:pt idx="479">
                  <c:v>7</c:v>
                </c:pt>
                <c:pt idx="480">
                  <c:v>8</c:v>
                </c:pt>
                <c:pt idx="481">
                  <c:v>5</c:v>
                </c:pt>
                <c:pt idx="482">
                  <c:v>20</c:v>
                </c:pt>
                <c:pt idx="483">
                  <c:v>23</c:v>
                </c:pt>
                <c:pt idx="484">
                  <c:v>15</c:v>
                </c:pt>
                <c:pt idx="485">
                  <c:v>12</c:v>
                </c:pt>
                <c:pt idx="486">
                  <c:v>16</c:v>
                </c:pt>
                <c:pt idx="487">
                  <c:v>2</c:v>
                </c:pt>
                <c:pt idx="488">
                  <c:v>4</c:v>
                </c:pt>
                <c:pt idx="489">
                  <c:v>24</c:v>
                </c:pt>
                <c:pt idx="490">
                  <c:v>19</c:v>
                </c:pt>
                <c:pt idx="491">
                  <c:v>12</c:v>
                </c:pt>
                <c:pt idx="492">
                  <c:v>16</c:v>
                </c:pt>
                <c:pt idx="493">
                  <c:v>17</c:v>
                </c:pt>
                <c:pt idx="494">
                  <c:v>4</c:v>
                </c:pt>
                <c:pt idx="495">
                  <c:v>5</c:v>
                </c:pt>
                <c:pt idx="496">
                  <c:v>19</c:v>
                </c:pt>
                <c:pt idx="497">
                  <c:v>19</c:v>
                </c:pt>
                <c:pt idx="498">
                  <c:v>13</c:v>
                </c:pt>
                <c:pt idx="499">
                  <c:v>16</c:v>
                </c:pt>
                <c:pt idx="500">
                  <c:v>20</c:v>
                </c:pt>
                <c:pt idx="501">
                  <c:v>7</c:v>
                </c:pt>
                <c:pt idx="502">
                  <c:v>15</c:v>
                </c:pt>
                <c:pt idx="503">
                  <c:v>67</c:v>
                </c:pt>
                <c:pt idx="504">
                  <c:v>47</c:v>
                </c:pt>
                <c:pt idx="505">
                  <c:v>52</c:v>
                </c:pt>
                <c:pt idx="506">
                  <c:v>67</c:v>
                </c:pt>
                <c:pt idx="507">
                  <c:v>83</c:v>
                </c:pt>
                <c:pt idx="508">
                  <c:v>52</c:v>
                </c:pt>
                <c:pt idx="509">
                  <c:v>21</c:v>
                </c:pt>
                <c:pt idx="510">
                  <c:v>137</c:v>
                </c:pt>
                <c:pt idx="511">
                  <c:v>145</c:v>
                </c:pt>
                <c:pt idx="512">
                  <c:v>135</c:v>
                </c:pt>
                <c:pt idx="513">
                  <c:v>83</c:v>
                </c:pt>
                <c:pt idx="514">
                  <c:v>122</c:v>
                </c:pt>
                <c:pt idx="515">
                  <c:v>34</c:v>
                </c:pt>
                <c:pt idx="516">
                  <c:v>37</c:v>
                </c:pt>
                <c:pt idx="517">
                  <c:v>159</c:v>
                </c:pt>
                <c:pt idx="518">
                  <c:v>165</c:v>
                </c:pt>
                <c:pt idx="519">
                  <c:v>112</c:v>
                </c:pt>
                <c:pt idx="520">
                  <c:v>89</c:v>
                </c:pt>
                <c:pt idx="521">
                  <c:v>141</c:v>
                </c:pt>
                <c:pt idx="522">
                  <c:v>52</c:v>
                </c:pt>
                <c:pt idx="523">
                  <c:v>35</c:v>
                </c:pt>
                <c:pt idx="524">
                  <c:v>217</c:v>
                </c:pt>
                <c:pt idx="525">
                  <c:v>132</c:v>
                </c:pt>
                <c:pt idx="526">
                  <c:v>92</c:v>
                </c:pt>
                <c:pt idx="527">
                  <c:v>113</c:v>
                </c:pt>
                <c:pt idx="528">
                  <c:v>131</c:v>
                </c:pt>
                <c:pt idx="529" formatCode="General">
                  <c:v>55</c:v>
                </c:pt>
                <c:pt idx="530" formatCode="General">
                  <c:v>31</c:v>
                </c:pt>
                <c:pt idx="531" formatCode="General">
                  <c:v>127</c:v>
                </c:pt>
                <c:pt idx="532" formatCode="General">
                  <c:v>162</c:v>
                </c:pt>
                <c:pt idx="533" formatCode="General">
                  <c:v>136</c:v>
                </c:pt>
                <c:pt idx="534" formatCode="General">
                  <c:v>158</c:v>
                </c:pt>
                <c:pt idx="535" formatCode="General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37</c:f>
              <c:numCache>
                <c:formatCode>m/d/yyyy</c:formatCode>
                <c:ptCount val="5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</c:numCache>
            </c:numRef>
          </c:cat>
          <c:val>
            <c:numRef>
              <c:f>Sheet1!$B$2:$B$537</c:f>
              <c:numCache>
                <c:formatCode>General</c:formatCode>
                <c:ptCount val="53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6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3</c:v>
                </c:pt>
                <c:pt idx="66">
                  <c:v>45</c:v>
                </c:pt>
                <c:pt idx="67">
                  <c:v>42</c:v>
                </c:pt>
                <c:pt idx="68">
                  <c:v>40</c:v>
                </c:pt>
                <c:pt idx="69">
                  <c:v>37</c:v>
                </c:pt>
                <c:pt idx="70">
                  <c:v>44</c:v>
                </c:pt>
                <c:pt idx="71">
                  <c:v>43</c:v>
                </c:pt>
                <c:pt idx="72">
                  <c:v>48</c:v>
                </c:pt>
                <c:pt idx="73">
                  <c:v>48</c:v>
                </c:pt>
                <c:pt idx="74">
                  <c:v>36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8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19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3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5</c:v>
                </c:pt>
                <c:pt idx="154">
                  <c:v>9</c:v>
                </c:pt>
                <c:pt idx="155">
                  <c:v>9</c:v>
                </c:pt>
                <c:pt idx="156">
                  <c:v>12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8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9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5</c:v>
                </c:pt>
                <c:pt idx="434">
                  <c:v>4</c:v>
                </c:pt>
                <c:pt idx="435">
                  <c:v>3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6</c:v>
                </c:pt>
                <c:pt idx="456">
                  <c:v>4</c:v>
                </c:pt>
                <c:pt idx="457">
                  <c:v>0</c:v>
                </c:pt>
                <c:pt idx="458">
                  <c:v>0</c:v>
                </c:pt>
                <c:pt idx="459">
                  <c:v>1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6</c:v>
                </c:pt>
                <c:pt idx="473">
                  <c:v>1</c:v>
                </c:pt>
                <c:pt idx="474">
                  <c:v>1</c:v>
                </c:pt>
                <c:pt idx="475">
                  <c:v>5</c:v>
                </c:pt>
                <c:pt idx="476">
                  <c:v>0</c:v>
                </c:pt>
                <c:pt idx="477">
                  <c:v>0</c:v>
                </c:pt>
                <c:pt idx="478">
                  <c:v>1</c:v>
                </c:pt>
                <c:pt idx="479">
                  <c:v>1</c:v>
                </c:pt>
                <c:pt idx="480">
                  <c:v>4</c:v>
                </c:pt>
                <c:pt idx="481">
                  <c:v>1</c:v>
                </c:pt>
                <c:pt idx="482">
                  <c:v>0</c:v>
                </c:pt>
                <c:pt idx="483">
                  <c:v>1</c:v>
                </c:pt>
                <c:pt idx="484">
                  <c:v>1</c:v>
                </c:pt>
                <c:pt idx="485">
                  <c:v>4</c:v>
                </c:pt>
                <c:pt idx="486">
                  <c:v>0</c:v>
                </c:pt>
                <c:pt idx="487">
                  <c:v>2</c:v>
                </c:pt>
                <c:pt idx="488">
                  <c:v>0</c:v>
                </c:pt>
                <c:pt idx="489">
                  <c:v>0</c:v>
                </c:pt>
                <c:pt idx="490">
                  <c:v>3</c:v>
                </c:pt>
                <c:pt idx="491">
                  <c:v>0</c:v>
                </c:pt>
                <c:pt idx="492">
                  <c:v>3</c:v>
                </c:pt>
                <c:pt idx="493">
                  <c:v>1</c:v>
                </c:pt>
                <c:pt idx="494">
                  <c:v>0</c:v>
                </c:pt>
                <c:pt idx="495">
                  <c:v>1</c:v>
                </c:pt>
                <c:pt idx="496">
                  <c:v>0</c:v>
                </c:pt>
                <c:pt idx="497">
                  <c:v>1</c:v>
                </c:pt>
                <c:pt idx="498">
                  <c:v>1</c:v>
                </c:pt>
                <c:pt idx="499">
                  <c:v>0</c:v>
                </c:pt>
                <c:pt idx="500">
                  <c:v>1</c:v>
                </c:pt>
                <c:pt idx="501">
                  <c:v>0</c:v>
                </c:pt>
                <c:pt idx="502">
                  <c:v>1</c:v>
                </c:pt>
                <c:pt idx="503">
                  <c:v>1</c:v>
                </c:pt>
                <c:pt idx="504">
                  <c:v>0</c:v>
                </c:pt>
                <c:pt idx="505">
                  <c:v>0</c:v>
                </c:pt>
                <c:pt idx="506">
                  <c:v>3</c:v>
                </c:pt>
                <c:pt idx="507">
                  <c:v>1</c:v>
                </c:pt>
                <c:pt idx="508">
                  <c:v>1</c:v>
                </c:pt>
                <c:pt idx="509">
                  <c:v>3</c:v>
                </c:pt>
                <c:pt idx="510">
                  <c:v>0</c:v>
                </c:pt>
                <c:pt idx="511">
                  <c:v>2</c:v>
                </c:pt>
                <c:pt idx="512">
                  <c:v>0</c:v>
                </c:pt>
                <c:pt idx="513">
                  <c:v>1</c:v>
                </c:pt>
                <c:pt idx="514">
                  <c:v>1</c:v>
                </c:pt>
                <c:pt idx="515">
                  <c:v>2</c:v>
                </c:pt>
                <c:pt idx="516">
                  <c:v>0</c:v>
                </c:pt>
                <c:pt idx="517">
                  <c:v>1</c:v>
                </c:pt>
                <c:pt idx="518">
                  <c:v>5</c:v>
                </c:pt>
                <c:pt idx="519">
                  <c:v>2</c:v>
                </c:pt>
                <c:pt idx="520">
                  <c:v>2</c:v>
                </c:pt>
                <c:pt idx="521">
                  <c:v>1</c:v>
                </c:pt>
                <c:pt idx="522">
                  <c:v>4</c:v>
                </c:pt>
                <c:pt idx="523">
                  <c:v>0</c:v>
                </c:pt>
                <c:pt idx="524">
                  <c:v>3</c:v>
                </c:pt>
                <c:pt idx="525">
                  <c:v>3</c:v>
                </c:pt>
                <c:pt idx="526">
                  <c:v>2</c:v>
                </c:pt>
                <c:pt idx="527">
                  <c:v>1</c:v>
                </c:pt>
                <c:pt idx="528">
                  <c:v>2</c:v>
                </c:pt>
                <c:pt idx="529">
                  <c:v>3</c:v>
                </c:pt>
                <c:pt idx="530">
                  <c:v>1</c:v>
                </c:pt>
                <c:pt idx="531">
                  <c:v>3</c:v>
                </c:pt>
                <c:pt idx="532">
                  <c:v>3</c:v>
                </c:pt>
                <c:pt idx="533">
                  <c:v>3</c:v>
                </c:pt>
                <c:pt idx="534">
                  <c:v>3</c:v>
                </c:pt>
                <c:pt idx="5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48</c:f>
              <c:numCache>
                <c:formatCode>m/d/yyyy</c:formatCode>
                <c:ptCount val="447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37</c:v>
                </c:pt>
                <c:pt idx="255">
                  <c:v>44340</c:v>
                </c:pt>
                <c:pt idx="256">
                  <c:v>44341</c:v>
                </c:pt>
                <c:pt idx="257">
                  <c:v>44342</c:v>
                </c:pt>
                <c:pt idx="258">
                  <c:v>44343</c:v>
                </c:pt>
                <c:pt idx="259">
                  <c:v>44349</c:v>
                </c:pt>
                <c:pt idx="260">
                  <c:v>44350</c:v>
                </c:pt>
                <c:pt idx="261">
                  <c:v>44354</c:v>
                </c:pt>
                <c:pt idx="262">
                  <c:v>44358</c:v>
                </c:pt>
                <c:pt idx="263">
                  <c:v>44364</c:v>
                </c:pt>
                <c:pt idx="264">
                  <c:v>44370</c:v>
                </c:pt>
                <c:pt idx="265">
                  <c:v>44371</c:v>
                </c:pt>
                <c:pt idx="266">
                  <c:v>44377</c:v>
                </c:pt>
                <c:pt idx="267">
                  <c:v>44378</c:v>
                </c:pt>
                <c:pt idx="268">
                  <c:v>44381</c:v>
                </c:pt>
                <c:pt idx="269">
                  <c:v>44384</c:v>
                </c:pt>
                <c:pt idx="270">
                  <c:v>44385</c:v>
                </c:pt>
                <c:pt idx="271">
                  <c:v>44388</c:v>
                </c:pt>
                <c:pt idx="272">
                  <c:v>44398</c:v>
                </c:pt>
                <c:pt idx="273">
                  <c:v>44401</c:v>
                </c:pt>
                <c:pt idx="274">
                  <c:v>44404</c:v>
                </c:pt>
                <c:pt idx="275">
                  <c:v>44405</c:v>
                </c:pt>
                <c:pt idx="276">
                  <c:v>44416</c:v>
                </c:pt>
                <c:pt idx="277">
                  <c:v>44419</c:v>
                </c:pt>
                <c:pt idx="278">
                  <c:v>44424</c:v>
                </c:pt>
                <c:pt idx="279">
                  <c:v>44425</c:v>
                </c:pt>
                <c:pt idx="280">
                  <c:v>44427</c:v>
                </c:pt>
                <c:pt idx="281">
                  <c:v>44431</c:v>
                </c:pt>
                <c:pt idx="282">
                  <c:v>44434</c:v>
                </c:pt>
                <c:pt idx="283">
                  <c:v>44435</c:v>
                </c:pt>
                <c:pt idx="284">
                  <c:v>44436</c:v>
                </c:pt>
                <c:pt idx="285">
                  <c:v>44440</c:v>
                </c:pt>
                <c:pt idx="286">
                  <c:v>44441</c:v>
                </c:pt>
                <c:pt idx="287">
                  <c:v>44442</c:v>
                </c:pt>
                <c:pt idx="288">
                  <c:v>44443</c:v>
                </c:pt>
                <c:pt idx="289">
                  <c:v>44445</c:v>
                </c:pt>
                <c:pt idx="290">
                  <c:v>44446</c:v>
                </c:pt>
                <c:pt idx="291">
                  <c:v>44447</c:v>
                </c:pt>
                <c:pt idx="292">
                  <c:v>44448</c:v>
                </c:pt>
                <c:pt idx="293">
                  <c:v>44449</c:v>
                </c:pt>
                <c:pt idx="294">
                  <c:v>44451</c:v>
                </c:pt>
                <c:pt idx="295">
                  <c:v>44452</c:v>
                </c:pt>
                <c:pt idx="296">
                  <c:v>44453</c:v>
                </c:pt>
                <c:pt idx="297">
                  <c:v>44457</c:v>
                </c:pt>
                <c:pt idx="298">
                  <c:v>44459</c:v>
                </c:pt>
                <c:pt idx="299">
                  <c:v>44460</c:v>
                </c:pt>
                <c:pt idx="300">
                  <c:v>44461</c:v>
                </c:pt>
                <c:pt idx="301">
                  <c:v>44464</c:v>
                </c:pt>
                <c:pt idx="302">
                  <c:v>44465</c:v>
                </c:pt>
                <c:pt idx="303">
                  <c:v>44466</c:v>
                </c:pt>
                <c:pt idx="304">
                  <c:v>44467</c:v>
                </c:pt>
                <c:pt idx="305">
                  <c:v>44468</c:v>
                </c:pt>
                <c:pt idx="306">
                  <c:v>44469</c:v>
                </c:pt>
                <c:pt idx="307">
                  <c:v>44470</c:v>
                </c:pt>
                <c:pt idx="308">
                  <c:v>44471</c:v>
                </c:pt>
                <c:pt idx="309">
                  <c:v>44472</c:v>
                </c:pt>
                <c:pt idx="310">
                  <c:v>44473</c:v>
                </c:pt>
                <c:pt idx="311">
                  <c:v>44474</c:v>
                </c:pt>
                <c:pt idx="312">
                  <c:v>44475</c:v>
                </c:pt>
                <c:pt idx="313">
                  <c:v>44476</c:v>
                </c:pt>
                <c:pt idx="314">
                  <c:v>44477</c:v>
                </c:pt>
                <c:pt idx="315">
                  <c:v>44478</c:v>
                </c:pt>
                <c:pt idx="316">
                  <c:v>44480</c:v>
                </c:pt>
                <c:pt idx="317">
                  <c:v>44481</c:v>
                </c:pt>
                <c:pt idx="318">
                  <c:v>44482</c:v>
                </c:pt>
                <c:pt idx="319">
                  <c:v>44483</c:v>
                </c:pt>
                <c:pt idx="320">
                  <c:v>44484</c:v>
                </c:pt>
                <c:pt idx="321">
                  <c:v>44485</c:v>
                </c:pt>
                <c:pt idx="322">
                  <c:v>44486</c:v>
                </c:pt>
                <c:pt idx="323">
                  <c:v>44487</c:v>
                </c:pt>
                <c:pt idx="324">
                  <c:v>44488</c:v>
                </c:pt>
                <c:pt idx="325">
                  <c:v>44489</c:v>
                </c:pt>
                <c:pt idx="326">
                  <c:v>44490</c:v>
                </c:pt>
                <c:pt idx="327">
                  <c:v>44491</c:v>
                </c:pt>
                <c:pt idx="328">
                  <c:v>44492</c:v>
                </c:pt>
                <c:pt idx="329">
                  <c:v>44493</c:v>
                </c:pt>
                <c:pt idx="330">
                  <c:v>44494</c:v>
                </c:pt>
                <c:pt idx="331">
                  <c:v>44495</c:v>
                </c:pt>
                <c:pt idx="332">
                  <c:v>44496</c:v>
                </c:pt>
                <c:pt idx="333">
                  <c:v>44497</c:v>
                </c:pt>
                <c:pt idx="334">
                  <c:v>44498</c:v>
                </c:pt>
                <c:pt idx="335">
                  <c:v>44499</c:v>
                </c:pt>
                <c:pt idx="336">
                  <c:v>44500</c:v>
                </c:pt>
                <c:pt idx="337">
                  <c:v>44501</c:v>
                </c:pt>
                <c:pt idx="338">
                  <c:v>44502</c:v>
                </c:pt>
                <c:pt idx="339">
                  <c:v>44503</c:v>
                </c:pt>
                <c:pt idx="340">
                  <c:v>44504</c:v>
                </c:pt>
                <c:pt idx="341">
                  <c:v>44505</c:v>
                </c:pt>
                <c:pt idx="342">
                  <c:v>44506</c:v>
                </c:pt>
                <c:pt idx="343">
                  <c:v>44507</c:v>
                </c:pt>
                <c:pt idx="344">
                  <c:v>44508</c:v>
                </c:pt>
                <c:pt idx="345">
                  <c:v>44509</c:v>
                </c:pt>
                <c:pt idx="346">
                  <c:v>44510</c:v>
                </c:pt>
                <c:pt idx="347">
                  <c:v>44511</c:v>
                </c:pt>
                <c:pt idx="348">
                  <c:v>44512</c:v>
                </c:pt>
                <c:pt idx="349">
                  <c:v>44513</c:v>
                </c:pt>
                <c:pt idx="350">
                  <c:v>44514</c:v>
                </c:pt>
                <c:pt idx="351">
                  <c:v>44515</c:v>
                </c:pt>
                <c:pt idx="352">
                  <c:v>44516</c:v>
                </c:pt>
                <c:pt idx="353">
                  <c:v>44517</c:v>
                </c:pt>
                <c:pt idx="354">
                  <c:v>44518</c:v>
                </c:pt>
                <c:pt idx="355">
                  <c:v>44519</c:v>
                </c:pt>
                <c:pt idx="356">
                  <c:v>44520</c:v>
                </c:pt>
                <c:pt idx="357">
                  <c:v>44521</c:v>
                </c:pt>
                <c:pt idx="358">
                  <c:v>44522</c:v>
                </c:pt>
                <c:pt idx="359">
                  <c:v>44523</c:v>
                </c:pt>
                <c:pt idx="360">
                  <c:v>44524</c:v>
                </c:pt>
                <c:pt idx="361">
                  <c:v>44525</c:v>
                </c:pt>
                <c:pt idx="362">
                  <c:v>44526</c:v>
                </c:pt>
                <c:pt idx="363">
                  <c:v>44527</c:v>
                </c:pt>
                <c:pt idx="364">
                  <c:v>44528</c:v>
                </c:pt>
                <c:pt idx="365">
                  <c:v>44529</c:v>
                </c:pt>
                <c:pt idx="366">
                  <c:v>44530</c:v>
                </c:pt>
                <c:pt idx="367">
                  <c:v>44531</c:v>
                </c:pt>
                <c:pt idx="368">
                  <c:v>44532</c:v>
                </c:pt>
                <c:pt idx="369">
                  <c:v>44533</c:v>
                </c:pt>
                <c:pt idx="370">
                  <c:v>44534</c:v>
                </c:pt>
                <c:pt idx="371">
                  <c:v>44535</c:v>
                </c:pt>
                <c:pt idx="372">
                  <c:v>44536</c:v>
                </c:pt>
                <c:pt idx="373">
                  <c:v>44537</c:v>
                </c:pt>
                <c:pt idx="374">
                  <c:v>44538</c:v>
                </c:pt>
                <c:pt idx="375">
                  <c:v>44539</c:v>
                </c:pt>
                <c:pt idx="376">
                  <c:v>44540</c:v>
                </c:pt>
                <c:pt idx="377">
                  <c:v>44541</c:v>
                </c:pt>
                <c:pt idx="378">
                  <c:v>44542</c:v>
                </c:pt>
                <c:pt idx="379">
                  <c:v>44543</c:v>
                </c:pt>
                <c:pt idx="380">
                  <c:v>44544</c:v>
                </c:pt>
                <c:pt idx="381">
                  <c:v>44545</c:v>
                </c:pt>
                <c:pt idx="382">
                  <c:v>44546</c:v>
                </c:pt>
                <c:pt idx="383">
                  <c:v>44547</c:v>
                </c:pt>
                <c:pt idx="384">
                  <c:v>44548</c:v>
                </c:pt>
                <c:pt idx="385">
                  <c:v>44549</c:v>
                </c:pt>
                <c:pt idx="386">
                  <c:v>44550</c:v>
                </c:pt>
                <c:pt idx="387">
                  <c:v>44551</c:v>
                </c:pt>
                <c:pt idx="388">
                  <c:v>44552</c:v>
                </c:pt>
                <c:pt idx="389">
                  <c:v>44553</c:v>
                </c:pt>
                <c:pt idx="390">
                  <c:v>44554</c:v>
                </c:pt>
                <c:pt idx="391">
                  <c:v>44555</c:v>
                </c:pt>
                <c:pt idx="392">
                  <c:v>44556</c:v>
                </c:pt>
                <c:pt idx="393">
                  <c:v>44557</c:v>
                </c:pt>
                <c:pt idx="394">
                  <c:v>44558</c:v>
                </c:pt>
                <c:pt idx="395">
                  <c:v>44559</c:v>
                </c:pt>
                <c:pt idx="396">
                  <c:v>44560</c:v>
                </c:pt>
                <c:pt idx="397">
                  <c:v>44561</c:v>
                </c:pt>
                <c:pt idx="398">
                  <c:v>44562</c:v>
                </c:pt>
                <c:pt idx="399">
                  <c:v>44563</c:v>
                </c:pt>
                <c:pt idx="400">
                  <c:v>44564</c:v>
                </c:pt>
                <c:pt idx="401">
                  <c:v>44565</c:v>
                </c:pt>
                <c:pt idx="402">
                  <c:v>44566</c:v>
                </c:pt>
                <c:pt idx="403">
                  <c:v>44567</c:v>
                </c:pt>
                <c:pt idx="404">
                  <c:v>44568</c:v>
                </c:pt>
                <c:pt idx="405">
                  <c:v>44569</c:v>
                </c:pt>
                <c:pt idx="406">
                  <c:v>44570</c:v>
                </c:pt>
                <c:pt idx="407">
                  <c:v>44571</c:v>
                </c:pt>
                <c:pt idx="408">
                  <c:v>44572</c:v>
                </c:pt>
                <c:pt idx="409">
                  <c:v>44573</c:v>
                </c:pt>
                <c:pt idx="410">
                  <c:v>44574</c:v>
                </c:pt>
                <c:pt idx="411">
                  <c:v>44575</c:v>
                </c:pt>
                <c:pt idx="412">
                  <c:v>44576</c:v>
                </c:pt>
                <c:pt idx="413">
                  <c:v>44577</c:v>
                </c:pt>
                <c:pt idx="414">
                  <c:v>44578</c:v>
                </c:pt>
                <c:pt idx="415">
                  <c:v>44579</c:v>
                </c:pt>
                <c:pt idx="416">
                  <c:v>44580</c:v>
                </c:pt>
                <c:pt idx="417">
                  <c:v>44581</c:v>
                </c:pt>
                <c:pt idx="418">
                  <c:v>44582</c:v>
                </c:pt>
                <c:pt idx="419">
                  <c:v>44583</c:v>
                </c:pt>
                <c:pt idx="420">
                  <c:v>44584</c:v>
                </c:pt>
                <c:pt idx="421">
                  <c:v>44585</c:v>
                </c:pt>
                <c:pt idx="422">
                  <c:v>44586</c:v>
                </c:pt>
                <c:pt idx="423">
                  <c:v>44587</c:v>
                </c:pt>
                <c:pt idx="424">
                  <c:v>44588</c:v>
                </c:pt>
                <c:pt idx="425">
                  <c:v>44589</c:v>
                </c:pt>
                <c:pt idx="426">
                  <c:v>44590</c:v>
                </c:pt>
                <c:pt idx="427">
                  <c:v>44591</c:v>
                </c:pt>
                <c:pt idx="428">
                  <c:v>44592</c:v>
                </c:pt>
                <c:pt idx="429">
                  <c:v>44593</c:v>
                </c:pt>
                <c:pt idx="430">
                  <c:v>44594</c:v>
                </c:pt>
                <c:pt idx="431">
                  <c:v>44595</c:v>
                </c:pt>
                <c:pt idx="432">
                  <c:v>44596</c:v>
                </c:pt>
                <c:pt idx="433">
                  <c:v>44597</c:v>
                </c:pt>
                <c:pt idx="434">
                  <c:v>44598</c:v>
                </c:pt>
                <c:pt idx="435">
                  <c:v>44599</c:v>
                </c:pt>
                <c:pt idx="436">
                  <c:v>44600</c:v>
                </c:pt>
                <c:pt idx="437">
                  <c:v>44601</c:v>
                </c:pt>
                <c:pt idx="438">
                  <c:v>44602</c:v>
                </c:pt>
                <c:pt idx="439">
                  <c:v>44603</c:v>
                </c:pt>
                <c:pt idx="440">
                  <c:v>44604</c:v>
                </c:pt>
                <c:pt idx="441">
                  <c:v>44605</c:v>
                </c:pt>
                <c:pt idx="442">
                  <c:v>44606</c:v>
                </c:pt>
                <c:pt idx="443">
                  <c:v>44607</c:v>
                </c:pt>
                <c:pt idx="444">
                  <c:v>44608</c:v>
                </c:pt>
                <c:pt idx="445">
                  <c:v>44609</c:v>
                </c:pt>
                <c:pt idx="446">
                  <c:v>44610</c:v>
                </c:pt>
              </c:numCache>
            </c:numRef>
          </c:cat>
          <c:val>
            <c:numRef>
              <c:f>Sheet1!$B$2:$B$448</c:f>
              <c:numCache>
                <c:formatCode>General</c:formatCode>
                <c:ptCount val="44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1</c:v>
                </c:pt>
                <c:pt idx="25">
                  <c:v>8</c:v>
                </c:pt>
                <c:pt idx="26">
                  <c:v>9</c:v>
                </c:pt>
                <c:pt idx="27">
                  <c:v>19</c:v>
                </c:pt>
                <c:pt idx="28">
                  <c:v>10</c:v>
                </c:pt>
                <c:pt idx="29">
                  <c:v>7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39</c:v>
                </c:pt>
                <c:pt idx="39">
                  <c:v>50</c:v>
                </c:pt>
                <c:pt idx="40">
                  <c:v>33</c:v>
                </c:pt>
                <c:pt idx="41">
                  <c:v>41</c:v>
                </c:pt>
                <c:pt idx="42">
                  <c:v>25</c:v>
                </c:pt>
                <c:pt idx="43">
                  <c:v>16</c:v>
                </c:pt>
                <c:pt idx="44">
                  <c:v>42</c:v>
                </c:pt>
                <c:pt idx="45">
                  <c:v>40</c:v>
                </c:pt>
                <c:pt idx="46">
                  <c:v>55</c:v>
                </c:pt>
                <c:pt idx="47">
                  <c:v>63</c:v>
                </c:pt>
                <c:pt idx="48">
                  <c:v>76</c:v>
                </c:pt>
                <c:pt idx="49">
                  <c:v>45</c:v>
                </c:pt>
                <c:pt idx="50">
                  <c:v>35</c:v>
                </c:pt>
                <c:pt idx="51">
                  <c:v>80</c:v>
                </c:pt>
                <c:pt idx="52">
                  <c:v>72</c:v>
                </c:pt>
                <c:pt idx="53">
                  <c:v>42</c:v>
                </c:pt>
                <c:pt idx="54">
                  <c:v>86</c:v>
                </c:pt>
                <c:pt idx="55">
                  <c:v>100</c:v>
                </c:pt>
                <c:pt idx="56">
                  <c:v>37</c:v>
                </c:pt>
                <c:pt idx="57">
                  <c:v>37</c:v>
                </c:pt>
                <c:pt idx="58">
                  <c:v>63</c:v>
                </c:pt>
                <c:pt idx="59">
                  <c:v>64</c:v>
                </c:pt>
                <c:pt idx="60">
                  <c:v>66</c:v>
                </c:pt>
                <c:pt idx="61">
                  <c:v>81</c:v>
                </c:pt>
                <c:pt idx="62">
                  <c:v>84</c:v>
                </c:pt>
                <c:pt idx="63">
                  <c:v>32</c:v>
                </c:pt>
                <c:pt idx="64">
                  <c:v>17</c:v>
                </c:pt>
                <c:pt idx="65">
                  <c:v>53</c:v>
                </c:pt>
                <c:pt idx="66">
                  <c:v>73</c:v>
                </c:pt>
                <c:pt idx="67">
                  <c:v>120</c:v>
                </c:pt>
                <c:pt idx="68">
                  <c:v>94</c:v>
                </c:pt>
                <c:pt idx="69">
                  <c:v>80</c:v>
                </c:pt>
                <c:pt idx="70">
                  <c:v>44</c:v>
                </c:pt>
                <c:pt idx="71">
                  <c:v>27</c:v>
                </c:pt>
                <c:pt idx="72">
                  <c:v>69</c:v>
                </c:pt>
                <c:pt idx="73">
                  <c:v>26</c:v>
                </c:pt>
                <c:pt idx="74">
                  <c:v>49</c:v>
                </c:pt>
                <c:pt idx="75">
                  <c:v>60</c:v>
                </c:pt>
                <c:pt idx="76">
                  <c:v>52</c:v>
                </c:pt>
                <c:pt idx="77">
                  <c:v>20</c:v>
                </c:pt>
                <c:pt idx="78">
                  <c:v>13</c:v>
                </c:pt>
                <c:pt idx="79">
                  <c:v>73</c:v>
                </c:pt>
                <c:pt idx="80">
                  <c:v>44</c:v>
                </c:pt>
                <c:pt idx="81">
                  <c:v>29</c:v>
                </c:pt>
                <c:pt idx="82">
                  <c:v>36</c:v>
                </c:pt>
                <c:pt idx="83">
                  <c:v>27</c:v>
                </c:pt>
                <c:pt idx="84">
                  <c:v>15</c:v>
                </c:pt>
                <c:pt idx="85">
                  <c:v>14</c:v>
                </c:pt>
                <c:pt idx="86">
                  <c:v>42</c:v>
                </c:pt>
                <c:pt idx="87">
                  <c:v>33</c:v>
                </c:pt>
                <c:pt idx="88">
                  <c:v>28</c:v>
                </c:pt>
                <c:pt idx="89">
                  <c:v>22</c:v>
                </c:pt>
                <c:pt idx="90">
                  <c:v>39</c:v>
                </c:pt>
                <c:pt idx="91">
                  <c:v>20</c:v>
                </c:pt>
                <c:pt idx="92">
                  <c:v>10</c:v>
                </c:pt>
                <c:pt idx="93">
                  <c:v>36</c:v>
                </c:pt>
                <c:pt idx="94">
                  <c:v>29</c:v>
                </c:pt>
                <c:pt idx="95">
                  <c:v>33</c:v>
                </c:pt>
                <c:pt idx="96">
                  <c:v>27</c:v>
                </c:pt>
                <c:pt idx="97">
                  <c:v>35</c:v>
                </c:pt>
                <c:pt idx="98">
                  <c:v>18</c:v>
                </c:pt>
                <c:pt idx="99">
                  <c:v>24</c:v>
                </c:pt>
                <c:pt idx="100">
                  <c:v>36</c:v>
                </c:pt>
                <c:pt idx="101">
                  <c:v>26</c:v>
                </c:pt>
                <c:pt idx="102">
                  <c:v>29</c:v>
                </c:pt>
                <c:pt idx="103">
                  <c:v>14</c:v>
                </c:pt>
                <c:pt idx="104">
                  <c:v>39</c:v>
                </c:pt>
                <c:pt idx="105">
                  <c:v>15</c:v>
                </c:pt>
                <c:pt idx="106">
                  <c:v>7</c:v>
                </c:pt>
                <c:pt idx="107">
                  <c:v>30</c:v>
                </c:pt>
                <c:pt idx="108">
                  <c:v>41</c:v>
                </c:pt>
                <c:pt idx="109">
                  <c:v>21</c:v>
                </c:pt>
                <c:pt idx="110">
                  <c:v>5</c:v>
                </c:pt>
                <c:pt idx="111">
                  <c:v>23</c:v>
                </c:pt>
                <c:pt idx="112">
                  <c:v>18</c:v>
                </c:pt>
                <c:pt idx="113">
                  <c:v>19</c:v>
                </c:pt>
                <c:pt idx="114">
                  <c:v>20</c:v>
                </c:pt>
                <c:pt idx="115">
                  <c:v>45</c:v>
                </c:pt>
                <c:pt idx="116">
                  <c:v>25</c:v>
                </c:pt>
                <c:pt idx="117">
                  <c:v>36</c:v>
                </c:pt>
                <c:pt idx="118">
                  <c:v>19</c:v>
                </c:pt>
                <c:pt idx="119">
                  <c:v>14</c:v>
                </c:pt>
                <c:pt idx="120">
                  <c:v>5</c:v>
                </c:pt>
                <c:pt idx="121">
                  <c:v>33</c:v>
                </c:pt>
                <c:pt idx="122">
                  <c:v>31</c:v>
                </c:pt>
                <c:pt idx="123">
                  <c:v>36</c:v>
                </c:pt>
                <c:pt idx="124">
                  <c:v>41</c:v>
                </c:pt>
                <c:pt idx="125">
                  <c:v>36</c:v>
                </c:pt>
                <c:pt idx="126">
                  <c:v>16</c:v>
                </c:pt>
                <c:pt idx="127">
                  <c:v>8</c:v>
                </c:pt>
                <c:pt idx="128">
                  <c:v>55</c:v>
                </c:pt>
                <c:pt idx="129">
                  <c:v>26</c:v>
                </c:pt>
                <c:pt idx="130">
                  <c:v>22</c:v>
                </c:pt>
                <c:pt idx="131">
                  <c:v>13</c:v>
                </c:pt>
                <c:pt idx="132">
                  <c:v>20</c:v>
                </c:pt>
                <c:pt idx="133">
                  <c:v>12</c:v>
                </c:pt>
                <c:pt idx="134">
                  <c:v>15</c:v>
                </c:pt>
                <c:pt idx="135">
                  <c:v>30</c:v>
                </c:pt>
                <c:pt idx="136">
                  <c:v>25</c:v>
                </c:pt>
                <c:pt idx="137">
                  <c:v>38</c:v>
                </c:pt>
                <c:pt idx="138">
                  <c:v>24</c:v>
                </c:pt>
                <c:pt idx="139">
                  <c:v>24</c:v>
                </c:pt>
                <c:pt idx="140">
                  <c:v>8</c:v>
                </c:pt>
                <c:pt idx="141">
                  <c:v>10</c:v>
                </c:pt>
                <c:pt idx="142">
                  <c:v>23</c:v>
                </c:pt>
                <c:pt idx="143">
                  <c:v>14</c:v>
                </c:pt>
                <c:pt idx="144">
                  <c:v>21</c:v>
                </c:pt>
                <c:pt idx="145">
                  <c:v>11</c:v>
                </c:pt>
                <c:pt idx="146">
                  <c:v>8</c:v>
                </c:pt>
                <c:pt idx="147">
                  <c:v>10</c:v>
                </c:pt>
                <c:pt idx="148">
                  <c:v>7</c:v>
                </c:pt>
                <c:pt idx="149">
                  <c:v>23</c:v>
                </c:pt>
                <c:pt idx="150">
                  <c:v>20</c:v>
                </c:pt>
                <c:pt idx="151">
                  <c:v>15</c:v>
                </c:pt>
                <c:pt idx="152">
                  <c:v>20</c:v>
                </c:pt>
                <c:pt idx="153">
                  <c:v>15</c:v>
                </c:pt>
                <c:pt idx="154">
                  <c:v>6</c:v>
                </c:pt>
                <c:pt idx="155">
                  <c:v>5</c:v>
                </c:pt>
                <c:pt idx="156">
                  <c:v>14</c:v>
                </c:pt>
                <c:pt idx="157">
                  <c:v>15</c:v>
                </c:pt>
                <c:pt idx="158">
                  <c:v>16</c:v>
                </c:pt>
                <c:pt idx="159">
                  <c:v>13</c:v>
                </c:pt>
                <c:pt idx="160">
                  <c:v>13</c:v>
                </c:pt>
                <c:pt idx="161">
                  <c:v>2</c:v>
                </c:pt>
                <c:pt idx="162">
                  <c:v>4</c:v>
                </c:pt>
                <c:pt idx="163">
                  <c:v>8</c:v>
                </c:pt>
                <c:pt idx="164">
                  <c:v>8</c:v>
                </c:pt>
                <c:pt idx="165">
                  <c:v>7</c:v>
                </c:pt>
                <c:pt idx="166">
                  <c:v>10</c:v>
                </c:pt>
                <c:pt idx="167">
                  <c:v>6</c:v>
                </c:pt>
                <c:pt idx="168">
                  <c:v>10</c:v>
                </c:pt>
                <c:pt idx="169">
                  <c:v>4</c:v>
                </c:pt>
                <c:pt idx="170">
                  <c:v>21</c:v>
                </c:pt>
                <c:pt idx="171">
                  <c:v>15</c:v>
                </c:pt>
                <c:pt idx="172">
                  <c:v>8</c:v>
                </c:pt>
                <c:pt idx="173">
                  <c:v>11</c:v>
                </c:pt>
                <c:pt idx="174">
                  <c:v>8</c:v>
                </c:pt>
                <c:pt idx="175">
                  <c:v>4</c:v>
                </c:pt>
                <c:pt idx="176">
                  <c:v>1</c:v>
                </c:pt>
                <c:pt idx="177">
                  <c:v>10</c:v>
                </c:pt>
                <c:pt idx="178">
                  <c:v>7</c:v>
                </c:pt>
                <c:pt idx="179">
                  <c:v>8</c:v>
                </c:pt>
                <c:pt idx="180">
                  <c:v>4</c:v>
                </c:pt>
                <c:pt idx="181">
                  <c:v>8</c:v>
                </c:pt>
                <c:pt idx="182">
                  <c:v>2</c:v>
                </c:pt>
                <c:pt idx="183">
                  <c:v>3</c:v>
                </c:pt>
                <c:pt idx="184">
                  <c:v>6</c:v>
                </c:pt>
                <c:pt idx="185">
                  <c:v>8</c:v>
                </c:pt>
                <c:pt idx="186">
                  <c:v>10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3</c:v>
                </c:pt>
                <c:pt idx="191">
                  <c:v>9</c:v>
                </c:pt>
                <c:pt idx="192">
                  <c:v>9</c:v>
                </c:pt>
                <c:pt idx="193">
                  <c:v>2</c:v>
                </c:pt>
                <c:pt idx="194">
                  <c:v>8</c:v>
                </c:pt>
                <c:pt idx="195">
                  <c:v>11</c:v>
                </c:pt>
                <c:pt idx="196">
                  <c:v>4</c:v>
                </c:pt>
                <c:pt idx="197">
                  <c:v>2</c:v>
                </c:pt>
                <c:pt idx="198">
                  <c:v>5</c:v>
                </c:pt>
                <c:pt idx="199">
                  <c:v>8</c:v>
                </c:pt>
                <c:pt idx="200">
                  <c:v>3</c:v>
                </c:pt>
                <c:pt idx="201">
                  <c:v>2</c:v>
                </c:pt>
                <c:pt idx="202">
                  <c:v>1</c:v>
                </c:pt>
                <c:pt idx="203">
                  <c:v>2</c:v>
                </c:pt>
                <c:pt idx="204">
                  <c:v>0</c:v>
                </c:pt>
                <c:pt idx="205">
                  <c:v>3</c:v>
                </c:pt>
                <c:pt idx="206">
                  <c:v>1</c:v>
                </c:pt>
                <c:pt idx="207">
                  <c:v>2</c:v>
                </c:pt>
                <c:pt idx="208">
                  <c:v>2</c:v>
                </c:pt>
                <c:pt idx="209">
                  <c:v>1</c:v>
                </c:pt>
                <c:pt idx="210">
                  <c:v>3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6</c:v>
                </c:pt>
                <c:pt idx="215">
                  <c:v>0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1</c:v>
                </c:pt>
                <c:pt idx="220">
                  <c:v>3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1</c:v>
                </c:pt>
                <c:pt idx="227">
                  <c:v>1</c:v>
                </c:pt>
                <c:pt idx="228">
                  <c:v>2</c:v>
                </c:pt>
                <c:pt idx="229">
                  <c:v>3</c:v>
                </c:pt>
                <c:pt idx="230">
                  <c:v>2</c:v>
                </c:pt>
                <c:pt idx="231">
                  <c:v>0</c:v>
                </c:pt>
                <c:pt idx="232">
                  <c:v>1</c:v>
                </c:pt>
                <c:pt idx="233">
                  <c:v>5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2</c:v>
                </c:pt>
                <c:pt idx="239">
                  <c:v>0</c:v>
                </c:pt>
                <c:pt idx="240">
                  <c:v>1</c:v>
                </c:pt>
                <c:pt idx="241">
                  <c:v>0</c:v>
                </c:pt>
                <c:pt idx="242">
                  <c:v>1</c:v>
                </c:pt>
                <c:pt idx="243">
                  <c:v>0</c:v>
                </c:pt>
                <c:pt idx="244">
                  <c:v>2</c:v>
                </c:pt>
                <c:pt idx="245">
                  <c:v>3</c:v>
                </c:pt>
                <c:pt idx="246">
                  <c:v>1</c:v>
                </c:pt>
                <c:pt idx="247">
                  <c:v>3</c:v>
                </c:pt>
                <c:pt idx="248">
                  <c:v>4</c:v>
                </c:pt>
                <c:pt idx="249">
                  <c:v>1</c:v>
                </c:pt>
                <c:pt idx="250">
                  <c:v>1</c:v>
                </c:pt>
                <c:pt idx="251">
                  <c:v>0</c:v>
                </c:pt>
                <c:pt idx="252">
                  <c:v>2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2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1</c:v>
                </c:pt>
                <c:pt idx="264">
                  <c:v>1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1</c:v>
                </c:pt>
                <c:pt idx="269">
                  <c:v>0</c:v>
                </c:pt>
                <c:pt idx="270">
                  <c:v>1</c:v>
                </c:pt>
                <c:pt idx="271">
                  <c:v>0</c:v>
                </c:pt>
                <c:pt idx="272">
                  <c:v>0</c:v>
                </c:pt>
                <c:pt idx="273">
                  <c:v>1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1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2</c:v>
                </c:pt>
                <c:pt idx="286">
                  <c:v>2</c:v>
                </c:pt>
                <c:pt idx="287">
                  <c:v>1</c:v>
                </c:pt>
                <c:pt idx="288">
                  <c:v>0</c:v>
                </c:pt>
                <c:pt idx="289">
                  <c:v>2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2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1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3</c:v>
                </c:pt>
                <c:pt idx="313">
                  <c:v>1</c:v>
                </c:pt>
                <c:pt idx="314">
                  <c:v>2</c:v>
                </c:pt>
                <c:pt idx="315">
                  <c:v>0</c:v>
                </c:pt>
                <c:pt idx="316">
                  <c:v>1</c:v>
                </c:pt>
                <c:pt idx="317">
                  <c:v>1</c:v>
                </c:pt>
                <c:pt idx="318">
                  <c:v>3</c:v>
                </c:pt>
                <c:pt idx="319">
                  <c:v>1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4</c:v>
                </c:pt>
                <c:pt idx="324">
                  <c:v>0</c:v>
                </c:pt>
                <c:pt idx="325">
                  <c:v>1</c:v>
                </c:pt>
                <c:pt idx="326">
                  <c:v>0</c:v>
                </c:pt>
                <c:pt idx="327">
                  <c:v>2</c:v>
                </c:pt>
                <c:pt idx="328">
                  <c:v>0</c:v>
                </c:pt>
                <c:pt idx="329">
                  <c:v>0</c:v>
                </c:pt>
                <c:pt idx="330">
                  <c:v>4</c:v>
                </c:pt>
                <c:pt idx="331">
                  <c:v>2</c:v>
                </c:pt>
                <c:pt idx="332">
                  <c:v>2</c:v>
                </c:pt>
                <c:pt idx="333">
                  <c:v>0</c:v>
                </c:pt>
                <c:pt idx="334">
                  <c:v>5</c:v>
                </c:pt>
                <c:pt idx="335">
                  <c:v>3</c:v>
                </c:pt>
                <c:pt idx="336">
                  <c:v>2</c:v>
                </c:pt>
                <c:pt idx="337">
                  <c:v>9</c:v>
                </c:pt>
                <c:pt idx="338">
                  <c:v>7</c:v>
                </c:pt>
                <c:pt idx="339">
                  <c:v>5</c:v>
                </c:pt>
                <c:pt idx="340">
                  <c:v>3</c:v>
                </c:pt>
                <c:pt idx="341">
                  <c:v>6</c:v>
                </c:pt>
                <c:pt idx="342">
                  <c:v>1</c:v>
                </c:pt>
                <c:pt idx="343">
                  <c:v>1</c:v>
                </c:pt>
                <c:pt idx="344">
                  <c:v>6</c:v>
                </c:pt>
                <c:pt idx="345">
                  <c:v>7</c:v>
                </c:pt>
                <c:pt idx="346">
                  <c:v>5</c:v>
                </c:pt>
                <c:pt idx="347">
                  <c:v>6</c:v>
                </c:pt>
                <c:pt idx="348">
                  <c:v>2</c:v>
                </c:pt>
                <c:pt idx="349">
                  <c:v>5</c:v>
                </c:pt>
                <c:pt idx="350">
                  <c:v>2</c:v>
                </c:pt>
                <c:pt idx="351">
                  <c:v>7</c:v>
                </c:pt>
                <c:pt idx="352">
                  <c:v>7</c:v>
                </c:pt>
                <c:pt idx="353">
                  <c:v>6</c:v>
                </c:pt>
                <c:pt idx="354">
                  <c:v>13</c:v>
                </c:pt>
                <c:pt idx="355">
                  <c:v>7</c:v>
                </c:pt>
                <c:pt idx="356">
                  <c:v>3</c:v>
                </c:pt>
                <c:pt idx="357">
                  <c:v>3</c:v>
                </c:pt>
                <c:pt idx="358">
                  <c:v>14</c:v>
                </c:pt>
                <c:pt idx="359">
                  <c:v>5</c:v>
                </c:pt>
                <c:pt idx="360">
                  <c:v>16</c:v>
                </c:pt>
                <c:pt idx="361">
                  <c:v>3</c:v>
                </c:pt>
                <c:pt idx="362">
                  <c:v>8</c:v>
                </c:pt>
                <c:pt idx="363">
                  <c:v>1</c:v>
                </c:pt>
                <c:pt idx="364">
                  <c:v>3</c:v>
                </c:pt>
                <c:pt idx="365">
                  <c:v>8</c:v>
                </c:pt>
                <c:pt idx="366">
                  <c:v>4</c:v>
                </c:pt>
                <c:pt idx="367">
                  <c:v>7</c:v>
                </c:pt>
                <c:pt idx="368">
                  <c:v>6</c:v>
                </c:pt>
                <c:pt idx="369">
                  <c:v>4</c:v>
                </c:pt>
                <c:pt idx="370">
                  <c:v>5</c:v>
                </c:pt>
                <c:pt idx="371">
                  <c:v>3</c:v>
                </c:pt>
                <c:pt idx="372">
                  <c:v>9</c:v>
                </c:pt>
                <c:pt idx="373">
                  <c:v>2</c:v>
                </c:pt>
                <c:pt idx="374">
                  <c:v>6</c:v>
                </c:pt>
                <c:pt idx="375">
                  <c:v>5</c:v>
                </c:pt>
                <c:pt idx="376">
                  <c:v>6</c:v>
                </c:pt>
                <c:pt idx="377">
                  <c:v>2</c:v>
                </c:pt>
                <c:pt idx="378">
                  <c:v>0</c:v>
                </c:pt>
                <c:pt idx="379">
                  <c:v>5</c:v>
                </c:pt>
                <c:pt idx="380">
                  <c:v>2</c:v>
                </c:pt>
                <c:pt idx="381">
                  <c:v>1</c:v>
                </c:pt>
                <c:pt idx="382">
                  <c:v>3</c:v>
                </c:pt>
                <c:pt idx="383">
                  <c:v>3</c:v>
                </c:pt>
                <c:pt idx="384">
                  <c:v>0</c:v>
                </c:pt>
                <c:pt idx="385">
                  <c:v>1</c:v>
                </c:pt>
                <c:pt idx="386">
                  <c:v>7</c:v>
                </c:pt>
                <c:pt idx="387">
                  <c:v>3</c:v>
                </c:pt>
                <c:pt idx="388">
                  <c:v>3</c:v>
                </c:pt>
                <c:pt idx="389">
                  <c:v>1</c:v>
                </c:pt>
                <c:pt idx="390">
                  <c:v>0</c:v>
                </c:pt>
                <c:pt idx="391">
                  <c:v>1</c:v>
                </c:pt>
                <c:pt idx="392">
                  <c:v>0</c:v>
                </c:pt>
                <c:pt idx="393">
                  <c:v>3</c:v>
                </c:pt>
                <c:pt idx="394">
                  <c:v>3</c:v>
                </c:pt>
                <c:pt idx="395">
                  <c:v>3</c:v>
                </c:pt>
                <c:pt idx="396">
                  <c:v>0</c:v>
                </c:pt>
                <c:pt idx="397">
                  <c:v>3</c:v>
                </c:pt>
                <c:pt idx="398">
                  <c:v>1</c:v>
                </c:pt>
                <c:pt idx="399">
                  <c:v>0</c:v>
                </c:pt>
                <c:pt idx="400">
                  <c:v>3</c:v>
                </c:pt>
                <c:pt idx="401">
                  <c:v>1</c:v>
                </c:pt>
                <c:pt idx="402">
                  <c:v>3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1</c:v>
                </c:pt>
                <c:pt idx="407">
                  <c:v>2</c:v>
                </c:pt>
                <c:pt idx="408">
                  <c:v>0</c:v>
                </c:pt>
                <c:pt idx="409">
                  <c:v>1</c:v>
                </c:pt>
                <c:pt idx="410">
                  <c:v>0</c:v>
                </c:pt>
                <c:pt idx="411">
                  <c:v>5</c:v>
                </c:pt>
                <c:pt idx="412">
                  <c:v>0</c:v>
                </c:pt>
                <c:pt idx="413">
                  <c:v>2</c:v>
                </c:pt>
                <c:pt idx="414">
                  <c:v>2</c:v>
                </c:pt>
                <c:pt idx="415">
                  <c:v>5</c:v>
                </c:pt>
                <c:pt idx="416">
                  <c:v>1</c:v>
                </c:pt>
                <c:pt idx="417">
                  <c:v>2</c:v>
                </c:pt>
                <c:pt idx="418">
                  <c:v>2</c:v>
                </c:pt>
                <c:pt idx="419">
                  <c:v>0</c:v>
                </c:pt>
                <c:pt idx="420">
                  <c:v>1</c:v>
                </c:pt>
                <c:pt idx="421">
                  <c:v>9</c:v>
                </c:pt>
                <c:pt idx="422">
                  <c:v>8</c:v>
                </c:pt>
                <c:pt idx="423">
                  <c:v>7</c:v>
                </c:pt>
                <c:pt idx="424">
                  <c:v>3</c:v>
                </c:pt>
                <c:pt idx="425">
                  <c:v>6</c:v>
                </c:pt>
                <c:pt idx="426">
                  <c:v>2</c:v>
                </c:pt>
                <c:pt idx="427">
                  <c:v>2</c:v>
                </c:pt>
                <c:pt idx="428">
                  <c:v>3</c:v>
                </c:pt>
                <c:pt idx="429">
                  <c:v>8</c:v>
                </c:pt>
                <c:pt idx="430">
                  <c:v>4</c:v>
                </c:pt>
                <c:pt idx="431">
                  <c:v>6</c:v>
                </c:pt>
                <c:pt idx="432">
                  <c:v>11</c:v>
                </c:pt>
                <c:pt idx="433">
                  <c:v>3</c:v>
                </c:pt>
                <c:pt idx="434">
                  <c:v>4</c:v>
                </c:pt>
                <c:pt idx="435">
                  <c:v>6</c:v>
                </c:pt>
                <c:pt idx="436">
                  <c:v>7</c:v>
                </c:pt>
                <c:pt idx="437">
                  <c:v>4</c:v>
                </c:pt>
                <c:pt idx="438">
                  <c:v>3</c:v>
                </c:pt>
                <c:pt idx="439">
                  <c:v>5</c:v>
                </c:pt>
                <c:pt idx="440">
                  <c:v>3</c:v>
                </c:pt>
                <c:pt idx="441">
                  <c:v>1</c:v>
                </c:pt>
                <c:pt idx="442">
                  <c:v>7</c:v>
                </c:pt>
                <c:pt idx="443">
                  <c:v>4</c:v>
                </c:pt>
                <c:pt idx="444">
                  <c:v>5</c:v>
                </c:pt>
                <c:pt idx="445">
                  <c:v>3</c:v>
                </c:pt>
                <c:pt idx="44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48</c:f>
              <c:numCache>
                <c:formatCode>m/d/yyyy</c:formatCode>
                <c:ptCount val="447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37</c:v>
                </c:pt>
                <c:pt idx="255">
                  <c:v>44340</c:v>
                </c:pt>
                <c:pt idx="256">
                  <c:v>44341</c:v>
                </c:pt>
                <c:pt idx="257">
                  <c:v>44342</c:v>
                </c:pt>
                <c:pt idx="258">
                  <c:v>44343</c:v>
                </c:pt>
                <c:pt idx="259">
                  <c:v>44349</c:v>
                </c:pt>
                <c:pt idx="260">
                  <c:v>44350</c:v>
                </c:pt>
                <c:pt idx="261">
                  <c:v>44354</c:v>
                </c:pt>
                <c:pt idx="262">
                  <c:v>44358</c:v>
                </c:pt>
                <c:pt idx="263">
                  <c:v>44364</c:v>
                </c:pt>
                <c:pt idx="264">
                  <c:v>44370</c:v>
                </c:pt>
                <c:pt idx="265">
                  <c:v>44371</c:v>
                </c:pt>
                <c:pt idx="266">
                  <c:v>44377</c:v>
                </c:pt>
                <c:pt idx="267">
                  <c:v>44378</c:v>
                </c:pt>
                <c:pt idx="268">
                  <c:v>44381</c:v>
                </c:pt>
                <c:pt idx="269">
                  <c:v>44384</c:v>
                </c:pt>
                <c:pt idx="270">
                  <c:v>44385</c:v>
                </c:pt>
                <c:pt idx="271">
                  <c:v>44388</c:v>
                </c:pt>
                <c:pt idx="272">
                  <c:v>44398</c:v>
                </c:pt>
                <c:pt idx="273">
                  <c:v>44401</c:v>
                </c:pt>
                <c:pt idx="274">
                  <c:v>44404</c:v>
                </c:pt>
                <c:pt idx="275">
                  <c:v>44405</c:v>
                </c:pt>
                <c:pt idx="276">
                  <c:v>44416</c:v>
                </c:pt>
                <c:pt idx="277">
                  <c:v>44419</c:v>
                </c:pt>
                <c:pt idx="278">
                  <c:v>44424</c:v>
                </c:pt>
                <c:pt idx="279">
                  <c:v>44425</c:v>
                </c:pt>
                <c:pt idx="280">
                  <c:v>44427</c:v>
                </c:pt>
                <c:pt idx="281">
                  <c:v>44431</c:v>
                </c:pt>
                <c:pt idx="282">
                  <c:v>44434</c:v>
                </c:pt>
                <c:pt idx="283">
                  <c:v>44435</c:v>
                </c:pt>
                <c:pt idx="284">
                  <c:v>44436</c:v>
                </c:pt>
                <c:pt idx="285">
                  <c:v>44440</c:v>
                </c:pt>
                <c:pt idx="286">
                  <c:v>44441</c:v>
                </c:pt>
                <c:pt idx="287">
                  <c:v>44442</c:v>
                </c:pt>
                <c:pt idx="288">
                  <c:v>44443</c:v>
                </c:pt>
                <c:pt idx="289">
                  <c:v>44445</c:v>
                </c:pt>
                <c:pt idx="290">
                  <c:v>44446</c:v>
                </c:pt>
                <c:pt idx="291">
                  <c:v>44447</c:v>
                </c:pt>
                <c:pt idx="292">
                  <c:v>44448</c:v>
                </c:pt>
                <c:pt idx="293">
                  <c:v>44449</c:v>
                </c:pt>
                <c:pt idx="294">
                  <c:v>44451</c:v>
                </c:pt>
                <c:pt idx="295">
                  <c:v>44452</c:v>
                </c:pt>
                <c:pt idx="296">
                  <c:v>44453</c:v>
                </c:pt>
                <c:pt idx="297">
                  <c:v>44457</c:v>
                </c:pt>
                <c:pt idx="298">
                  <c:v>44459</c:v>
                </c:pt>
                <c:pt idx="299">
                  <c:v>44460</c:v>
                </c:pt>
                <c:pt idx="300">
                  <c:v>44461</c:v>
                </c:pt>
                <c:pt idx="301">
                  <c:v>44464</c:v>
                </c:pt>
                <c:pt idx="302">
                  <c:v>44465</c:v>
                </c:pt>
                <c:pt idx="303">
                  <c:v>44466</c:v>
                </c:pt>
                <c:pt idx="304">
                  <c:v>44467</c:v>
                </c:pt>
                <c:pt idx="305">
                  <c:v>44468</c:v>
                </c:pt>
                <c:pt idx="306">
                  <c:v>44469</c:v>
                </c:pt>
                <c:pt idx="307">
                  <c:v>44470</c:v>
                </c:pt>
                <c:pt idx="308">
                  <c:v>44471</c:v>
                </c:pt>
                <c:pt idx="309">
                  <c:v>44472</c:v>
                </c:pt>
                <c:pt idx="310">
                  <c:v>44473</c:v>
                </c:pt>
                <c:pt idx="311">
                  <c:v>44474</c:v>
                </c:pt>
                <c:pt idx="312">
                  <c:v>44475</c:v>
                </c:pt>
                <c:pt idx="313">
                  <c:v>44476</c:v>
                </c:pt>
                <c:pt idx="314">
                  <c:v>44477</c:v>
                </c:pt>
                <c:pt idx="315">
                  <c:v>44478</c:v>
                </c:pt>
                <c:pt idx="316">
                  <c:v>44480</c:v>
                </c:pt>
                <c:pt idx="317">
                  <c:v>44481</c:v>
                </c:pt>
                <c:pt idx="318">
                  <c:v>44482</c:v>
                </c:pt>
                <c:pt idx="319">
                  <c:v>44483</c:v>
                </c:pt>
                <c:pt idx="320">
                  <c:v>44484</c:v>
                </c:pt>
                <c:pt idx="321">
                  <c:v>44485</c:v>
                </c:pt>
                <c:pt idx="322">
                  <c:v>44486</c:v>
                </c:pt>
                <c:pt idx="323">
                  <c:v>44487</c:v>
                </c:pt>
                <c:pt idx="324">
                  <c:v>44488</c:v>
                </c:pt>
                <c:pt idx="325">
                  <c:v>44489</c:v>
                </c:pt>
                <c:pt idx="326">
                  <c:v>44490</c:v>
                </c:pt>
                <c:pt idx="327">
                  <c:v>44491</c:v>
                </c:pt>
                <c:pt idx="328">
                  <c:v>44492</c:v>
                </c:pt>
                <c:pt idx="329">
                  <c:v>44493</c:v>
                </c:pt>
                <c:pt idx="330">
                  <c:v>44494</c:v>
                </c:pt>
                <c:pt idx="331">
                  <c:v>44495</c:v>
                </c:pt>
                <c:pt idx="332">
                  <c:v>44496</c:v>
                </c:pt>
                <c:pt idx="333">
                  <c:v>44497</c:v>
                </c:pt>
                <c:pt idx="334">
                  <c:v>44498</c:v>
                </c:pt>
                <c:pt idx="335">
                  <c:v>44499</c:v>
                </c:pt>
                <c:pt idx="336">
                  <c:v>44500</c:v>
                </c:pt>
                <c:pt idx="337">
                  <c:v>44501</c:v>
                </c:pt>
                <c:pt idx="338">
                  <c:v>44502</c:v>
                </c:pt>
                <c:pt idx="339">
                  <c:v>44503</c:v>
                </c:pt>
                <c:pt idx="340">
                  <c:v>44504</c:v>
                </c:pt>
                <c:pt idx="341">
                  <c:v>44505</c:v>
                </c:pt>
                <c:pt idx="342">
                  <c:v>44506</c:v>
                </c:pt>
                <c:pt idx="343">
                  <c:v>44507</c:v>
                </c:pt>
                <c:pt idx="344">
                  <c:v>44508</c:v>
                </c:pt>
                <c:pt idx="345">
                  <c:v>44509</c:v>
                </c:pt>
                <c:pt idx="346">
                  <c:v>44510</c:v>
                </c:pt>
                <c:pt idx="347">
                  <c:v>44511</c:v>
                </c:pt>
                <c:pt idx="348">
                  <c:v>44512</c:v>
                </c:pt>
                <c:pt idx="349">
                  <c:v>44513</c:v>
                </c:pt>
                <c:pt idx="350">
                  <c:v>44514</c:v>
                </c:pt>
                <c:pt idx="351">
                  <c:v>44515</c:v>
                </c:pt>
                <c:pt idx="352">
                  <c:v>44516</c:v>
                </c:pt>
                <c:pt idx="353">
                  <c:v>44517</c:v>
                </c:pt>
                <c:pt idx="354">
                  <c:v>44518</c:v>
                </c:pt>
                <c:pt idx="355">
                  <c:v>44519</c:v>
                </c:pt>
                <c:pt idx="356">
                  <c:v>44520</c:v>
                </c:pt>
                <c:pt idx="357">
                  <c:v>44521</c:v>
                </c:pt>
                <c:pt idx="358">
                  <c:v>44522</c:v>
                </c:pt>
                <c:pt idx="359">
                  <c:v>44523</c:v>
                </c:pt>
                <c:pt idx="360">
                  <c:v>44524</c:v>
                </c:pt>
                <c:pt idx="361">
                  <c:v>44525</c:v>
                </c:pt>
                <c:pt idx="362">
                  <c:v>44526</c:v>
                </c:pt>
                <c:pt idx="363">
                  <c:v>44527</c:v>
                </c:pt>
                <c:pt idx="364">
                  <c:v>44528</c:v>
                </c:pt>
                <c:pt idx="365">
                  <c:v>44529</c:v>
                </c:pt>
                <c:pt idx="366">
                  <c:v>44530</c:v>
                </c:pt>
                <c:pt idx="367">
                  <c:v>44531</c:v>
                </c:pt>
                <c:pt idx="368">
                  <c:v>44532</c:v>
                </c:pt>
                <c:pt idx="369">
                  <c:v>44533</c:v>
                </c:pt>
                <c:pt idx="370">
                  <c:v>44534</c:v>
                </c:pt>
                <c:pt idx="371">
                  <c:v>44535</c:v>
                </c:pt>
                <c:pt idx="372">
                  <c:v>44536</c:v>
                </c:pt>
                <c:pt idx="373">
                  <c:v>44537</c:v>
                </c:pt>
                <c:pt idx="374">
                  <c:v>44538</c:v>
                </c:pt>
                <c:pt idx="375">
                  <c:v>44539</c:v>
                </c:pt>
                <c:pt idx="376">
                  <c:v>44540</c:v>
                </c:pt>
                <c:pt idx="377">
                  <c:v>44541</c:v>
                </c:pt>
                <c:pt idx="378">
                  <c:v>44542</c:v>
                </c:pt>
                <c:pt idx="379">
                  <c:v>44543</c:v>
                </c:pt>
                <c:pt idx="380">
                  <c:v>44544</c:v>
                </c:pt>
                <c:pt idx="381">
                  <c:v>44545</c:v>
                </c:pt>
                <c:pt idx="382">
                  <c:v>44546</c:v>
                </c:pt>
                <c:pt idx="383">
                  <c:v>44547</c:v>
                </c:pt>
                <c:pt idx="384">
                  <c:v>44548</c:v>
                </c:pt>
                <c:pt idx="385">
                  <c:v>44549</c:v>
                </c:pt>
                <c:pt idx="386">
                  <c:v>44550</c:v>
                </c:pt>
                <c:pt idx="387">
                  <c:v>44551</c:v>
                </c:pt>
                <c:pt idx="388">
                  <c:v>44552</c:v>
                </c:pt>
                <c:pt idx="389">
                  <c:v>44553</c:v>
                </c:pt>
                <c:pt idx="390">
                  <c:v>44554</c:v>
                </c:pt>
                <c:pt idx="391">
                  <c:v>44555</c:v>
                </c:pt>
                <c:pt idx="392">
                  <c:v>44556</c:v>
                </c:pt>
                <c:pt idx="393">
                  <c:v>44557</c:v>
                </c:pt>
                <c:pt idx="394">
                  <c:v>44558</c:v>
                </c:pt>
                <c:pt idx="395">
                  <c:v>44559</c:v>
                </c:pt>
                <c:pt idx="396">
                  <c:v>44560</c:v>
                </c:pt>
                <c:pt idx="397">
                  <c:v>44561</c:v>
                </c:pt>
                <c:pt idx="398">
                  <c:v>44562</c:v>
                </c:pt>
                <c:pt idx="399">
                  <c:v>44563</c:v>
                </c:pt>
                <c:pt idx="400">
                  <c:v>44564</c:v>
                </c:pt>
                <c:pt idx="401">
                  <c:v>44565</c:v>
                </c:pt>
                <c:pt idx="402">
                  <c:v>44566</c:v>
                </c:pt>
                <c:pt idx="403">
                  <c:v>44567</c:v>
                </c:pt>
                <c:pt idx="404">
                  <c:v>44568</c:v>
                </c:pt>
                <c:pt idx="405">
                  <c:v>44569</c:v>
                </c:pt>
                <c:pt idx="406">
                  <c:v>44570</c:v>
                </c:pt>
                <c:pt idx="407">
                  <c:v>44571</c:v>
                </c:pt>
                <c:pt idx="408">
                  <c:v>44572</c:v>
                </c:pt>
                <c:pt idx="409">
                  <c:v>44573</c:v>
                </c:pt>
                <c:pt idx="410">
                  <c:v>44574</c:v>
                </c:pt>
                <c:pt idx="411">
                  <c:v>44575</c:v>
                </c:pt>
                <c:pt idx="412">
                  <c:v>44576</c:v>
                </c:pt>
                <c:pt idx="413">
                  <c:v>44577</c:v>
                </c:pt>
                <c:pt idx="414">
                  <c:v>44578</c:v>
                </c:pt>
                <c:pt idx="415">
                  <c:v>44579</c:v>
                </c:pt>
                <c:pt idx="416">
                  <c:v>44580</c:v>
                </c:pt>
                <c:pt idx="417">
                  <c:v>44581</c:v>
                </c:pt>
                <c:pt idx="418">
                  <c:v>44582</c:v>
                </c:pt>
                <c:pt idx="419">
                  <c:v>44583</c:v>
                </c:pt>
                <c:pt idx="420">
                  <c:v>44584</c:v>
                </c:pt>
                <c:pt idx="421">
                  <c:v>44585</c:v>
                </c:pt>
                <c:pt idx="422">
                  <c:v>44586</c:v>
                </c:pt>
                <c:pt idx="423">
                  <c:v>44587</c:v>
                </c:pt>
                <c:pt idx="424">
                  <c:v>44588</c:v>
                </c:pt>
                <c:pt idx="425">
                  <c:v>44589</c:v>
                </c:pt>
                <c:pt idx="426">
                  <c:v>44590</c:v>
                </c:pt>
                <c:pt idx="427">
                  <c:v>44591</c:v>
                </c:pt>
                <c:pt idx="428">
                  <c:v>44592</c:v>
                </c:pt>
                <c:pt idx="429">
                  <c:v>44593</c:v>
                </c:pt>
                <c:pt idx="430">
                  <c:v>44594</c:v>
                </c:pt>
                <c:pt idx="431">
                  <c:v>44595</c:v>
                </c:pt>
                <c:pt idx="432">
                  <c:v>44596</c:v>
                </c:pt>
                <c:pt idx="433">
                  <c:v>44597</c:v>
                </c:pt>
                <c:pt idx="434">
                  <c:v>44598</c:v>
                </c:pt>
                <c:pt idx="435">
                  <c:v>44599</c:v>
                </c:pt>
                <c:pt idx="436">
                  <c:v>44600</c:v>
                </c:pt>
                <c:pt idx="437">
                  <c:v>44601</c:v>
                </c:pt>
                <c:pt idx="438">
                  <c:v>44602</c:v>
                </c:pt>
                <c:pt idx="439">
                  <c:v>44603</c:v>
                </c:pt>
                <c:pt idx="440">
                  <c:v>44604</c:v>
                </c:pt>
                <c:pt idx="441">
                  <c:v>44605</c:v>
                </c:pt>
                <c:pt idx="442">
                  <c:v>44606</c:v>
                </c:pt>
                <c:pt idx="443">
                  <c:v>44607</c:v>
                </c:pt>
                <c:pt idx="444">
                  <c:v>44608</c:v>
                </c:pt>
                <c:pt idx="445">
                  <c:v>44609</c:v>
                </c:pt>
                <c:pt idx="446">
                  <c:v>44610</c:v>
                </c:pt>
              </c:numCache>
            </c:numRef>
          </c:cat>
          <c:val>
            <c:numRef>
              <c:f>Sheet1!$B$2:$B$448</c:f>
              <c:numCache>
                <c:formatCode>General</c:formatCode>
                <c:ptCount val="44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3</c:v>
                </c:pt>
                <c:pt idx="24">
                  <c:v>1</c:v>
                </c:pt>
                <c:pt idx="25">
                  <c:v>4</c:v>
                </c:pt>
                <c:pt idx="26">
                  <c:v>4</c:v>
                </c:pt>
                <c:pt idx="27">
                  <c:v>7</c:v>
                </c:pt>
                <c:pt idx="28">
                  <c:v>5</c:v>
                </c:pt>
                <c:pt idx="29">
                  <c:v>5</c:v>
                </c:pt>
                <c:pt idx="30">
                  <c:v>23</c:v>
                </c:pt>
                <c:pt idx="31">
                  <c:v>8</c:v>
                </c:pt>
                <c:pt idx="32">
                  <c:v>7</c:v>
                </c:pt>
                <c:pt idx="33">
                  <c:v>2</c:v>
                </c:pt>
                <c:pt idx="34">
                  <c:v>7</c:v>
                </c:pt>
                <c:pt idx="35">
                  <c:v>3</c:v>
                </c:pt>
                <c:pt idx="36">
                  <c:v>0</c:v>
                </c:pt>
                <c:pt idx="37">
                  <c:v>8</c:v>
                </c:pt>
                <c:pt idx="38">
                  <c:v>13</c:v>
                </c:pt>
                <c:pt idx="39">
                  <c:v>13</c:v>
                </c:pt>
                <c:pt idx="40">
                  <c:v>15</c:v>
                </c:pt>
                <c:pt idx="41">
                  <c:v>18</c:v>
                </c:pt>
                <c:pt idx="42">
                  <c:v>9</c:v>
                </c:pt>
                <c:pt idx="43">
                  <c:v>5</c:v>
                </c:pt>
                <c:pt idx="44">
                  <c:v>18</c:v>
                </c:pt>
                <c:pt idx="45">
                  <c:v>14</c:v>
                </c:pt>
                <c:pt idx="46">
                  <c:v>21</c:v>
                </c:pt>
                <c:pt idx="47">
                  <c:v>18</c:v>
                </c:pt>
                <c:pt idx="48">
                  <c:v>28</c:v>
                </c:pt>
                <c:pt idx="49">
                  <c:v>7</c:v>
                </c:pt>
                <c:pt idx="50">
                  <c:v>7</c:v>
                </c:pt>
                <c:pt idx="51">
                  <c:v>28</c:v>
                </c:pt>
                <c:pt idx="52">
                  <c:v>19</c:v>
                </c:pt>
                <c:pt idx="53">
                  <c:v>11</c:v>
                </c:pt>
                <c:pt idx="54">
                  <c:v>20</c:v>
                </c:pt>
                <c:pt idx="55">
                  <c:v>27</c:v>
                </c:pt>
                <c:pt idx="56">
                  <c:v>9</c:v>
                </c:pt>
                <c:pt idx="57">
                  <c:v>14</c:v>
                </c:pt>
                <c:pt idx="58">
                  <c:v>15</c:v>
                </c:pt>
                <c:pt idx="59">
                  <c:v>13</c:v>
                </c:pt>
                <c:pt idx="60">
                  <c:v>22</c:v>
                </c:pt>
                <c:pt idx="61">
                  <c:v>9</c:v>
                </c:pt>
                <c:pt idx="62">
                  <c:v>16</c:v>
                </c:pt>
                <c:pt idx="63">
                  <c:v>10</c:v>
                </c:pt>
                <c:pt idx="64">
                  <c:v>7</c:v>
                </c:pt>
                <c:pt idx="65">
                  <c:v>10</c:v>
                </c:pt>
                <c:pt idx="66">
                  <c:v>16</c:v>
                </c:pt>
                <c:pt idx="67">
                  <c:v>25</c:v>
                </c:pt>
                <c:pt idx="68">
                  <c:v>14</c:v>
                </c:pt>
                <c:pt idx="69">
                  <c:v>19</c:v>
                </c:pt>
                <c:pt idx="70">
                  <c:v>9</c:v>
                </c:pt>
                <c:pt idx="71">
                  <c:v>5</c:v>
                </c:pt>
                <c:pt idx="72">
                  <c:v>18</c:v>
                </c:pt>
                <c:pt idx="73">
                  <c:v>9</c:v>
                </c:pt>
                <c:pt idx="74">
                  <c:v>12</c:v>
                </c:pt>
                <c:pt idx="75">
                  <c:v>12</c:v>
                </c:pt>
                <c:pt idx="76">
                  <c:v>13</c:v>
                </c:pt>
                <c:pt idx="77">
                  <c:v>4</c:v>
                </c:pt>
                <c:pt idx="78">
                  <c:v>3</c:v>
                </c:pt>
                <c:pt idx="79">
                  <c:v>15</c:v>
                </c:pt>
                <c:pt idx="80">
                  <c:v>9</c:v>
                </c:pt>
                <c:pt idx="81">
                  <c:v>9</c:v>
                </c:pt>
                <c:pt idx="82">
                  <c:v>10</c:v>
                </c:pt>
                <c:pt idx="83">
                  <c:v>5</c:v>
                </c:pt>
                <c:pt idx="84">
                  <c:v>1</c:v>
                </c:pt>
                <c:pt idx="85">
                  <c:v>2</c:v>
                </c:pt>
                <c:pt idx="86">
                  <c:v>10</c:v>
                </c:pt>
                <c:pt idx="87">
                  <c:v>9</c:v>
                </c:pt>
                <c:pt idx="88">
                  <c:v>5</c:v>
                </c:pt>
                <c:pt idx="89">
                  <c:v>2</c:v>
                </c:pt>
                <c:pt idx="90">
                  <c:v>9</c:v>
                </c:pt>
                <c:pt idx="91">
                  <c:v>2</c:v>
                </c:pt>
                <c:pt idx="92">
                  <c:v>1</c:v>
                </c:pt>
                <c:pt idx="93">
                  <c:v>3</c:v>
                </c:pt>
                <c:pt idx="94">
                  <c:v>4</c:v>
                </c:pt>
                <c:pt idx="95">
                  <c:v>6</c:v>
                </c:pt>
                <c:pt idx="96">
                  <c:v>6</c:v>
                </c:pt>
                <c:pt idx="97">
                  <c:v>6</c:v>
                </c:pt>
                <c:pt idx="98">
                  <c:v>3</c:v>
                </c:pt>
                <c:pt idx="99">
                  <c:v>3</c:v>
                </c:pt>
                <c:pt idx="100">
                  <c:v>4</c:v>
                </c:pt>
                <c:pt idx="101">
                  <c:v>3</c:v>
                </c:pt>
                <c:pt idx="102">
                  <c:v>6</c:v>
                </c:pt>
                <c:pt idx="103">
                  <c:v>3</c:v>
                </c:pt>
                <c:pt idx="104">
                  <c:v>7</c:v>
                </c:pt>
                <c:pt idx="105">
                  <c:v>6</c:v>
                </c:pt>
                <c:pt idx="106">
                  <c:v>1</c:v>
                </c:pt>
                <c:pt idx="107">
                  <c:v>5</c:v>
                </c:pt>
                <c:pt idx="108">
                  <c:v>10</c:v>
                </c:pt>
                <c:pt idx="109">
                  <c:v>2</c:v>
                </c:pt>
                <c:pt idx="110">
                  <c:v>1</c:v>
                </c:pt>
                <c:pt idx="111">
                  <c:v>6</c:v>
                </c:pt>
                <c:pt idx="112">
                  <c:v>5</c:v>
                </c:pt>
                <c:pt idx="113">
                  <c:v>7</c:v>
                </c:pt>
                <c:pt idx="114">
                  <c:v>4</c:v>
                </c:pt>
                <c:pt idx="115">
                  <c:v>6</c:v>
                </c:pt>
                <c:pt idx="116">
                  <c:v>8</c:v>
                </c:pt>
                <c:pt idx="117">
                  <c:v>7</c:v>
                </c:pt>
                <c:pt idx="118">
                  <c:v>4</c:v>
                </c:pt>
                <c:pt idx="119">
                  <c:v>5</c:v>
                </c:pt>
                <c:pt idx="120">
                  <c:v>1</c:v>
                </c:pt>
                <c:pt idx="121">
                  <c:v>9</c:v>
                </c:pt>
                <c:pt idx="122">
                  <c:v>5</c:v>
                </c:pt>
                <c:pt idx="123">
                  <c:v>4</c:v>
                </c:pt>
                <c:pt idx="124">
                  <c:v>7</c:v>
                </c:pt>
                <c:pt idx="125">
                  <c:v>8</c:v>
                </c:pt>
                <c:pt idx="126">
                  <c:v>3</c:v>
                </c:pt>
                <c:pt idx="127">
                  <c:v>2</c:v>
                </c:pt>
                <c:pt idx="128">
                  <c:v>8</c:v>
                </c:pt>
                <c:pt idx="129">
                  <c:v>4</c:v>
                </c:pt>
                <c:pt idx="130">
                  <c:v>3</c:v>
                </c:pt>
                <c:pt idx="131">
                  <c:v>3</c:v>
                </c:pt>
                <c:pt idx="132">
                  <c:v>12</c:v>
                </c:pt>
                <c:pt idx="133">
                  <c:v>4</c:v>
                </c:pt>
                <c:pt idx="134">
                  <c:v>2</c:v>
                </c:pt>
                <c:pt idx="135">
                  <c:v>5</c:v>
                </c:pt>
                <c:pt idx="136">
                  <c:v>4</c:v>
                </c:pt>
                <c:pt idx="137">
                  <c:v>8</c:v>
                </c:pt>
                <c:pt idx="138">
                  <c:v>5</c:v>
                </c:pt>
                <c:pt idx="139">
                  <c:v>5</c:v>
                </c:pt>
                <c:pt idx="140">
                  <c:v>0</c:v>
                </c:pt>
                <c:pt idx="141">
                  <c:v>3</c:v>
                </c:pt>
                <c:pt idx="142">
                  <c:v>7</c:v>
                </c:pt>
                <c:pt idx="143">
                  <c:v>1</c:v>
                </c:pt>
                <c:pt idx="144">
                  <c:v>2</c:v>
                </c:pt>
                <c:pt idx="145">
                  <c:v>2</c:v>
                </c:pt>
                <c:pt idx="146">
                  <c:v>1</c:v>
                </c:pt>
                <c:pt idx="147">
                  <c:v>2</c:v>
                </c:pt>
                <c:pt idx="148">
                  <c:v>1</c:v>
                </c:pt>
                <c:pt idx="149">
                  <c:v>3</c:v>
                </c:pt>
                <c:pt idx="150">
                  <c:v>3</c:v>
                </c:pt>
                <c:pt idx="151">
                  <c:v>2</c:v>
                </c:pt>
                <c:pt idx="152">
                  <c:v>4</c:v>
                </c:pt>
                <c:pt idx="153">
                  <c:v>2</c:v>
                </c:pt>
                <c:pt idx="154">
                  <c:v>4</c:v>
                </c:pt>
                <c:pt idx="155">
                  <c:v>1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3</c:v>
                </c:pt>
                <c:pt idx="160">
                  <c:v>3</c:v>
                </c:pt>
                <c:pt idx="161">
                  <c:v>0</c:v>
                </c:pt>
                <c:pt idx="162">
                  <c:v>1</c:v>
                </c:pt>
                <c:pt idx="163">
                  <c:v>2</c:v>
                </c:pt>
                <c:pt idx="164">
                  <c:v>2</c:v>
                </c:pt>
                <c:pt idx="165">
                  <c:v>3</c:v>
                </c:pt>
                <c:pt idx="166">
                  <c:v>2</c:v>
                </c:pt>
                <c:pt idx="167">
                  <c:v>0</c:v>
                </c:pt>
                <c:pt idx="168">
                  <c:v>6</c:v>
                </c:pt>
                <c:pt idx="169">
                  <c:v>1</c:v>
                </c:pt>
                <c:pt idx="170">
                  <c:v>1</c:v>
                </c:pt>
                <c:pt idx="171">
                  <c:v>4</c:v>
                </c:pt>
                <c:pt idx="172">
                  <c:v>1</c:v>
                </c:pt>
                <c:pt idx="173">
                  <c:v>0</c:v>
                </c:pt>
                <c:pt idx="174">
                  <c:v>1</c:v>
                </c:pt>
                <c:pt idx="175">
                  <c:v>1</c:v>
                </c:pt>
                <c:pt idx="176">
                  <c:v>0</c:v>
                </c:pt>
                <c:pt idx="177">
                  <c:v>2</c:v>
                </c:pt>
                <c:pt idx="178">
                  <c:v>4</c:v>
                </c:pt>
                <c:pt idx="179">
                  <c:v>1</c:v>
                </c:pt>
                <c:pt idx="180">
                  <c:v>1</c:v>
                </c:pt>
                <c:pt idx="181">
                  <c:v>3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2</c:v>
                </c:pt>
                <c:pt idx="186">
                  <c:v>4</c:v>
                </c:pt>
                <c:pt idx="187">
                  <c:v>1</c:v>
                </c:pt>
                <c:pt idx="188">
                  <c:v>0</c:v>
                </c:pt>
                <c:pt idx="189">
                  <c:v>1</c:v>
                </c:pt>
                <c:pt idx="190">
                  <c:v>1</c:v>
                </c:pt>
                <c:pt idx="191">
                  <c:v>0</c:v>
                </c:pt>
                <c:pt idx="192">
                  <c:v>2</c:v>
                </c:pt>
                <c:pt idx="193">
                  <c:v>1</c:v>
                </c:pt>
                <c:pt idx="194">
                  <c:v>3</c:v>
                </c:pt>
                <c:pt idx="195">
                  <c:v>0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1</c:v>
                </c:pt>
                <c:pt idx="201">
                  <c:v>1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1</c:v>
                </c:pt>
                <c:pt idx="207">
                  <c:v>1</c:v>
                </c:pt>
                <c:pt idx="208">
                  <c:v>0</c:v>
                </c:pt>
                <c:pt idx="209">
                  <c:v>0</c:v>
                </c:pt>
                <c:pt idx="210">
                  <c:v>1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2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2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1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1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1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1</c:v>
                </c:pt>
                <c:pt idx="318">
                  <c:v>1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3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1</c:v>
                </c:pt>
                <c:pt idx="328">
                  <c:v>0</c:v>
                </c:pt>
                <c:pt idx="329">
                  <c:v>0</c:v>
                </c:pt>
                <c:pt idx="330">
                  <c:v>1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1</c:v>
                </c:pt>
                <c:pt idx="335">
                  <c:v>0</c:v>
                </c:pt>
                <c:pt idx="336">
                  <c:v>1</c:v>
                </c:pt>
                <c:pt idx="337">
                  <c:v>2</c:v>
                </c:pt>
                <c:pt idx="338">
                  <c:v>2</c:v>
                </c:pt>
                <c:pt idx="339">
                  <c:v>1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1</c:v>
                </c:pt>
                <c:pt idx="344">
                  <c:v>0</c:v>
                </c:pt>
                <c:pt idx="345">
                  <c:v>3</c:v>
                </c:pt>
                <c:pt idx="346">
                  <c:v>0</c:v>
                </c:pt>
                <c:pt idx="347">
                  <c:v>1</c:v>
                </c:pt>
                <c:pt idx="348">
                  <c:v>0</c:v>
                </c:pt>
                <c:pt idx="349">
                  <c:v>2</c:v>
                </c:pt>
                <c:pt idx="350">
                  <c:v>2</c:v>
                </c:pt>
                <c:pt idx="351">
                  <c:v>1</c:v>
                </c:pt>
                <c:pt idx="352">
                  <c:v>1</c:v>
                </c:pt>
                <c:pt idx="353">
                  <c:v>0</c:v>
                </c:pt>
                <c:pt idx="354">
                  <c:v>6</c:v>
                </c:pt>
                <c:pt idx="355">
                  <c:v>3</c:v>
                </c:pt>
                <c:pt idx="356">
                  <c:v>1</c:v>
                </c:pt>
                <c:pt idx="357">
                  <c:v>2</c:v>
                </c:pt>
                <c:pt idx="358">
                  <c:v>2</c:v>
                </c:pt>
                <c:pt idx="359">
                  <c:v>0</c:v>
                </c:pt>
                <c:pt idx="360">
                  <c:v>5</c:v>
                </c:pt>
                <c:pt idx="361">
                  <c:v>0</c:v>
                </c:pt>
                <c:pt idx="362">
                  <c:v>1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1</c:v>
                </c:pt>
                <c:pt idx="372">
                  <c:v>1</c:v>
                </c:pt>
                <c:pt idx="373">
                  <c:v>0</c:v>
                </c:pt>
                <c:pt idx="374">
                  <c:v>1</c:v>
                </c:pt>
                <c:pt idx="375">
                  <c:v>2</c:v>
                </c:pt>
                <c:pt idx="376">
                  <c:v>1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1</c:v>
                </c:pt>
                <c:pt idx="384">
                  <c:v>0</c:v>
                </c:pt>
                <c:pt idx="385">
                  <c:v>0</c:v>
                </c:pt>
                <c:pt idx="386">
                  <c:v>2</c:v>
                </c:pt>
                <c:pt idx="387">
                  <c:v>0</c:v>
                </c:pt>
                <c:pt idx="388">
                  <c:v>1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1</c:v>
                </c:pt>
                <c:pt idx="401">
                  <c:v>0</c:v>
                </c:pt>
                <c:pt idx="402">
                  <c:v>1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1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3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0</c:v>
                </c:pt>
                <c:pt idx="425">
                  <c:v>1</c:v>
                </c:pt>
                <c:pt idx="426">
                  <c:v>0</c:v>
                </c:pt>
                <c:pt idx="427">
                  <c:v>0</c:v>
                </c:pt>
                <c:pt idx="428">
                  <c:v>1</c:v>
                </c:pt>
                <c:pt idx="429">
                  <c:v>3</c:v>
                </c:pt>
                <c:pt idx="430">
                  <c:v>1</c:v>
                </c:pt>
                <c:pt idx="431">
                  <c:v>2</c:v>
                </c:pt>
                <c:pt idx="432">
                  <c:v>2</c:v>
                </c:pt>
                <c:pt idx="433">
                  <c:v>1</c:v>
                </c:pt>
                <c:pt idx="434">
                  <c:v>0</c:v>
                </c:pt>
                <c:pt idx="435">
                  <c:v>2</c:v>
                </c:pt>
                <c:pt idx="436">
                  <c:v>1</c:v>
                </c:pt>
                <c:pt idx="437">
                  <c:v>0</c:v>
                </c:pt>
                <c:pt idx="438">
                  <c:v>0</c:v>
                </c:pt>
                <c:pt idx="439">
                  <c:v>1</c:v>
                </c:pt>
                <c:pt idx="440">
                  <c:v>1</c:v>
                </c:pt>
                <c:pt idx="441">
                  <c:v>0</c:v>
                </c:pt>
                <c:pt idx="442">
                  <c:v>0</c:v>
                </c:pt>
                <c:pt idx="443">
                  <c:v>1</c:v>
                </c:pt>
                <c:pt idx="444">
                  <c:v>0</c:v>
                </c:pt>
                <c:pt idx="445">
                  <c:v>1</c:v>
                </c:pt>
                <c:pt idx="44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13</c:v>
                </c:pt>
                <c:pt idx="1">
                  <c:v>90</c:v>
                </c:pt>
                <c:pt idx="2">
                  <c:v>107</c:v>
                </c:pt>
                <c:pt idx="3">
                  <c:v>119</c:v>
                </c:pt>
                <c:pt idx="4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5</c:v>
                </c:pt>
                <c:pt idx="1">
                  <c:v>173</c:v>
                </c:pt>
                <c:pt idx="2">
                  <c:v>106</c:v>
                </c:pt>
                <c:pt idx="3">
                  <c:v>70</c:v>
                </c:pt>
                <c:pt idx="4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12.–
2.1.</c:v>
                </c:pt>
                <c:pt idx="1">
                  <c:v>3.1.–
9.1.</c:v>
                </c:pt>
                <c:pt idx="2">
                  <c:v>10.1.–
16.1.</c:v>
                </c:pt>
                <c:pt idx="3">
                  <c:v>17.1.–
23.1.</c:v>
                </c:pt>
                <c:pt idx="4">
                  <c:v>24.1.–
30.1.</c:v>
                </c:pt>
                <c:pt idx="5">
                  <c:v>31.1.–
6.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4</c:v>
                </c:pt>
                <c:pt idx="1">
                  <c:v>46</c:v>
                </c:pt>
                <c:pt idx="2">
                  <c:v>28</c:v>
                </c:pt>
                <c:pt idx="3">
                  <c:v>248</c:v>
                </c:pt>
                <c:pt idx="4">
                  <c:v>258</c:v>
                </c:pt>
                <c:pt idx="5">
                  <c:v>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1.–
6.2.</c:v>
                </c:pt>
                <c:pt idx="1">
                  <c:v>7.2.–
13.2.</c:v>
                </c:pt>
                <c:pt idx="2">
                  <c:v>14.2.–
20.2.</c:v>
                </c:pt>
                <c:pt idx="3">
                  <c:v>21.2.–
27.2.</c:v>
                </c:pt>
                <c:pt idx="4">
                  <c:v>28.2.–
6.3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34</c:v>
                </c:pt>
                <c:pt idx="1">
                  <c:v>612</c:v>
                </c:pt>
                <c:pt idx="2">
                  <c:v>2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80899612484871</c:v>
                </c:pt>
                <c:pt idx="1">
                  <c:v>0.18191003875151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explosion val="1"/>
          <c:dPt>
            <c:idx val="0"/>
            <c:bubble3D val="0"/>
            <c:explosion val="3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2821061979261892</c:v>
                </c:pt>
                <c:pt idx="1">
                  <c:v>0.27178938020738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1013622033192561</c:v>
                </c:pt>
                <c:pt idx="1">
                  <c:v>0.389863779668074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9.02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9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7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10.xml"/><Relationship Id="rId5" Type="http://schemas.openxmlformats.org/officeDocument/2006/relationships/tags" Target="../tags/tag15.xml"/><Relationship Id="rId10" Type="http://schemas.openxmlformats.org/officeDocument/2006/relationships/chart" Target="../charts/chart9.xml"/><Relationship Id="rId4" Type="http://schemas.openxmlformats.org/officeDocument/2006/relationships/tags" Target="../tags/tag14.xml"/><Relationship Id="rId9" Type="http://schemas.openxmlformats.org/officeDocument/2006/relationships/chart" Target="../charts/chart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2.xml"/><Relationship Id="rId5" Type="http://schemas.openxmlformats.org/officeDocument/2006/relationships/tags" Target="../tags/tag22.xml"/><Relationship Id="rId10" Type="http://schemas.openxmlformats.org/officeDocument/2006/relationships/chart" Target="../charts/chart11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7.xml"/><Relationship Id="rId5" Type="http://schemas.openxmlformats.org/officeDocument/2006/relationships/chart" Target="../charts/chart16.xml"/><Relationship Id="rId4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chart" Target="../charts/chart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4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081177"/>
              </p:ext>
            </p:extLst>
          </p:nvPr>
        </p:nvGraphicFramePr>
        <p:xfrm>
          <a:off x="1372685" y="1009672"/>
          <a:ext cx="9684753" cy="550315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4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3572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2. – 31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266196"/>
              </p:ext>
            </p:extLst>
          </p:nvPr>
        </p:nvGraphicFramePr>
        <p:xfrm>
          <a:off x="1372685" y="1009673"/>
          <a:ext cx="9684753" cy="53816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19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humanity - Azylový dů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Loucký Mlý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885821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7299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143495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80781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CP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45884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ZAŠOVÁ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612077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GAPO Bruntá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835001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Šluknov-Krásná Lípa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02963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verka Jiř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31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8636223"/>
              </p:ext>
            </p:extLst>
          </p:nvPr>
        </p:nvGraphicFramePr>
        <p:xfrm>
          <a:off x="1372685" y="1009672"/>
          <a:ext cx="9684753" cy="550316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85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Ječmínek Z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s.Zdisl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Ludmil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U Vršovického nádraží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Vlašs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ouse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chy Kůs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AMICA 3 -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ršovická zdravotní, rehabilita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ALMEZ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írenská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Vrchlab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zrakově postižené Palata, Praha 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ETRA Mačk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Hedviky Kravař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 Mnichovo Hradiště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, Komenského 6, 382 26 Horní Plan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DS Máj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58551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6 -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AVOROVA K. VARY -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8843817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ZBOROVICE22 K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509063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OTROK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85755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Zahradní město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Louck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k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79750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9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2. 2022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F7E221A7-C6C9-47E2-BB32-2A8D1AB67A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443502"/>
              </p:ext>
            </p:extLst>
          </p:nvPr>
        </p:nvGraphicFramePr>
        <p:xfrm>
          <a:off x="1372685" y="1009672"/>
          <a:ext cx="9684753" cy="542922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880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Hagibor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Česká J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áchova Prah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KUN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ELEHRAD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DĚJE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centrum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Jablonecké Paseky, p. 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 zvláštním režim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rbno p.P., Mnichov 2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D Malá Čermná 42 l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rizont,p.o. - odd B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nov, Rooseveltova 51, 79401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Třebo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5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rsek Olš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7657475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27476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u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anž. Curieových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00367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0. 2. – 19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2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7708643"/>
              </p:ext>
            </p:extLst>
          </p:nvPr>
        </p:nvGraphicFramePr>
        <p:xfrm>
          <a:off x="1372685" y="1009673"/>
          <a:ext cx="9684753" cy="541017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391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lementas Mlék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sy Dobr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hoda Neto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Anežky Velký Újezd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2 U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NÁVOJNÁ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ÁŽANY22 K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Osobl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Sněženková 8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t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MSSS Oáza II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projek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.r.o. DZ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Svob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15, Parmsk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vízdal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áměšť nad Osl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GF Alzheimer centrum Třebí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tenz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Ďáb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Fontán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21649236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Meziříčí, Zdenky Vorlové 2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2798790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85711495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U Přehrady, z. 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7657475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ubešova Třebí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3127476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REŠOV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68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NLP Therapon 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72129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04486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1" y="622249"/>
            <a:ext cx="113270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o šíření nákazy v pobytových sociálních službách je ze strany poskytovatelů reprezentativní, celý systém dosahuje více než 81% pokrytí tohoto segmentu péče. Za celé období sledování od podzimu 2020 bylo registrováno přes 2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 nakažených klientů a více než 20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 nakažených pracovníků. Hlášení o úmrtích COVID pozitivních klientů přesáhlo 3 500, pracovníků zemřelo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53656" y="194887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237830" y="2483419"/>
            <a:ext cx="1168747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pracovníků a 8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klientů pobytových sociálních služeb. Počet hlášených úmrtí klientů dosáhnul v listopadu hodnoty 11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Ačkoli šlo o výrazný nárůst, stále se jednalo o počty významně nižší než v zimních až jarních měsících 2021. Za prosinec bylo na bázi přímého hlášení od poskytovatelů sociálních služeb registrováno 5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personálu a 4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klientů. Celkem 69 nakažených klientů zemřelo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96776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046" y="5480176"/>
            <a:ext cx="1157858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dnu bylo nahlášeno 10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ípadů nákazy personálu a 42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ientů, z nichž 30 zemřelo. V únoru dosud bylo nahlášeno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1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pracovníků a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76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klientů, z nichž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emřelo. Počty případů s těžkým průběhem nákazy, zejména vyžadujícím hospitalizaci, zůstávají nízké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jednotkách případů denně v celé Č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odnadpis 4">
            <a:extLst>
              <a:ext uri="{FF2B5EF4-FFF2-40B4-BE49-F238E27FC236}">
                <a16:creationId xmlns:a16="http://schemas.microsoft.com/office/drawing/2014/main" id="{8B62E79B-CD80-47C0-8863-8E66984EC330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lášení poskytovatelů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08161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10410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14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8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2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6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0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7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1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6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8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7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3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1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.95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81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659894"/>
            <a:ext cx="36618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áz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PS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en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438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 547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ien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102 57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k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Tyt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s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n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Z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ho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álníh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IN 1724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edis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81,8%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59663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331345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6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5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8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8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.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8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6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3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9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4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6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216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812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028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0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3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7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2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8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0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. 2022</a:t>
            </a:r>
          </a:p>
        </p:txBody>
      </p:sp>
    </p:spTree>
    <p:extLst>
      <p:ext uri="{BB962C8B-B14F-4D97-AF65-F5344CB8AC3E}">
        <p14:creationId xmlns:p14="http://schemas.microsoft.com/office/powerpoint/2010/main" val="31237375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540765" y="2971287"/>
          <a:ext cx="10115198" cy="3255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2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3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0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8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1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9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81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02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187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. 2022</a:t>
            </a:r>
          </a:p>
        </p:txBody>
      </p:sp>
    </p:spTree>
    <p:extLst>
      <p:ext uri="{BB962C8B-B14F-4D97-AF65-F5344CB8AC3E}">
        <p14:creationId xmlns:p14="http://schemas.microsoft.com/office/powerpoint/2010/main" val="39226876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. 2022</a:t>
            </a:r>
          </a:p>
        </p:txBody>
      </p:sp>
    </p:spTree>
    <p:extLst>
      <p:ext uri="{BB962C8B-B14F-4D97-AF65-F5344CB8AC3E}">
        <p14:creationId xmlns:p14="http://schemas.microsoft.com/office/powerpoint/2010/main" val="20768897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. 2022</a:t>
            </a:r>
          </a:p>
        </p:txBody>
      </p:sp>
    </p:spTree>
    <p:extLst>
      <p:ext uri="{BB962C8B-B14F-4D97-AF65-F5344CB8AC3E}">
        <p14:creationId xmlns:p14="http://schemas.microsoft.com/office/powerpoint/2010/main" val="20201698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9421275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5251768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4321581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2368681"/>
              </p:ext>
            </p:extLst>
          </p:nvPr>
        </p:nvGraphicFramePr>
        <p:xfrm>
          <a:off x="136358" y="951384"/>
          <a:ext cx="11724467" cy="56418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8795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01560235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874325632"/>
                    </a:ext>
                  </a:extLst>
                </a:gridCol>
              </a:tblGrid>
              <a:tr h="602838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 19.2.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283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34205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10976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0471442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EA3F3409-560C-4B9F-89F0-F5AF9408008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0542337"/>
              </p:ext>
            </p:extLst>
          </p:nvPr>
        </p:nvGraphicFramePr>
        <p:xfrm>
          <a:off x="136358" y="988368"/>
          <a:ext cx="11895207" cy="5633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5915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380247738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44831403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9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9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9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9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9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9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dirty="0"/>
                        <a:t>k 19.2.</a:t>
                      </a:r>
                      <a:endParaRPr kumimoji="0" lang="cs-CZ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49850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83803986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6067189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66699" y="1144575"/>
            <a:ext cx="1132702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Šlo ale o počty, které byly velmi významně nižší ve srovnání např. s jarem 2021. KHS identifikovaly za říjen 15 ohnisek v sociálních zařízeních (celkem 182 nakažených osob) a za listopad 36 ohnisek s celkem 645 dosud zařazenými nakaženými osobami. Za prosinec 2021 bylo z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 strany KHS identifikováno a nahlášeno 42 událostí v sociálních službách s celkem 592 nakaženými osobami. </a:t>
            </a:r>
          </a:p>
          <a:p>
            <a:pPr algn="ctr">
              <a:defRPr/>
            </a:pP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a leden je hlášeno 33 událostí se 655 nakaženými, za únor je dosud nahlášeno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59 událostí s 1 250 nakaženými (stav k 19. 2.). V současnosti tedy registrujeme nárůst počtu nákaz, za necelou polovinu února je nehlášeno více ohnisek a nakažených než za celý leden 2022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86398" y="5668316"/>
            <a:ext cx="1319062" cy="545849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dnadpis 4">
            <a:extLst>
              <a:ext uri="{FF2B5EF4-FFF2-40B4-BE49-F238E27FC236}">
                <a16:creationId xmlns:a16="http://schemas.microsoft.com/office/drawing/2014/main" id="{FD2CE6B4-35B6-4010-B3CB-EE34C0274624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Výstupy šetření KHS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BE8C4729-887E-4BB1-A28C-8797B151D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0938534"/>
              </p:ext>
            </p:extLst>
          </p:nvPr>
        </p:nvGraphicFramePr>
        <p:xfrm>
          <a:off x="1003495" y="5723959"/>
          <a:ext cx="10940865" cy="731520"/>
        </p:xfrm>
        <a:graphic>
          <a:graphicData uri="http://schemas.openxmlformats.org/drawingml/2006/table">
            <a:tbl>
              <a:tblPr/>
              <a:tblGrid>
                <a:gridCol w="115167">
                  <a:extLst>
                    <a:ext uri="{9D8B030D-6E8A-4147-A177-3AD203B41FA5}">
                      <a16:colId xmlns:a16="http://schemas.microsoft.com/office/drawing/2014/main" val="220777911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378332093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761405320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281657782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54907418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9670897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251265907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559236725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770767763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42046561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612725855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4062677530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162996688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17191742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906992833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991010552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91601644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4730908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501141873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92873591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973133774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722416850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838521868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63636165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103363690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01762733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763748355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665711583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53724076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470616737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74776468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412834765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57656328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209035260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4140841198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201740607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780520785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51221704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92624037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709392891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28407499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39229810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384707328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87814810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728572662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92177295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064545691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206848172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469879973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719310757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908074973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731640775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48726658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102825497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831825035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36511640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009724485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933564961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05482707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411261608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4068559282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881037602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800686040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14262102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57923437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882353765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152315707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015485370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096997117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4625313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695321852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48842072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92885946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4208769231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541991388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082748097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403308040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266263618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524148657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66090383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848408975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402577944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458367138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197752434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968072377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4163008629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867709571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668071180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348767445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122416946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809851424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1104539300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781692048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3333464927"/>
                    </a:ext>
                  </a:extLst>
                </a:gridCol>
                <a:gridCol w="115167">
                  <a:extLst>
                    <a:ext uri="{9D8B030D-6E8A-4147-A177-3AD203B41FA5}">
                      <a16:colId xmlns:a16="http://schemas.microsoft.com/office/drawing/2014/main" val="286089444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98549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5088238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1924730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9. 2. 202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81D70FC-F528-494D-8C3A-D477F854D763}"/>
              </a:ext>
            </a:extLst>
          </p:cNvPr>
          <p:cNvSpPr/>
          <p:nvPr/>
        </p:nvSpPr>
        <p:spPr>
          <a:xfrm>
            <a:off x="10842357" y="3390334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předběžné údaj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E67781F-87FB-42C9-899D-4460B89C4830}"/>
              </a:ext>
            </a:extLst>
          </p:cNvPr>
          <p:cNvSpPr/>
          <p:nvPr/>
        </p:nvSpPr>
        <p:spPr>
          <a:xfrm>
            <a:off x="11753266" y="4716302"/>
            <a:ext cx="2487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802625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9871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3210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B025EEA-5EC2-46B3-A881-CCAAF37669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0309151"/>
              </p:ext>
            </p:extLst>
          </p:nvPr>
        </p:nvGraphicFramePr>
        <p:xfrm>
          <a:off x="7428768" y="5737703"/>
          <a:ext cx="4564868" cy="731518"/>
        </p:xfrm>
        <a:graphic>
          <a:graphicData uri="http://schemas.openxmlformats.org/drawingml/2006/table">
            <a:tbl>
              <a:tblPr/>
              <a:tblGrid>
                <a:gridCol w="207494">
                  <a:extLst>
                    <a:ext uri="{9D8B030D-6E8A-4147-A177-3AD203B41FA5}">
                      <a16:colId xmlns:a16="http://schemas.microsoft.com/office/drawing/2014/main" val="2094107700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997173913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24275407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24311421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4839218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79267099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294684300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451198577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677830363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40749837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933915181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54334324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02732059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332855220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79894634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88076101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38820149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54812500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68406392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119676157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70916916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19259508"/>
                    </a:ext>
                  </a:extLst>
                </a:gridCol>
              </a:tblGrid>
              <a:tr h="365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0684151"/>
                  </a:ext>
                </a:extLst>
              </a:tr>
              <a:tr h="365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8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6900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9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4486308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2/2022 k 19. 2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86584" y="5534255"/>
            <a:ext cx="56137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19. 2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972735"/>
              </p:ext>
            </p:extLst>
          </p:nvPr>
        </p:nvGraphicFramePr>
        <p:xfrm>
          <a:off x="123825" y="1028653"/>
          <a:ext cx="6483887" cy="5476511"/>
        </p:xfrm>
        <a:graphic>
          <a:graphicData uri="http://schemas.openxmlformats.org/drawingml/2006/table">
            <a:tbl>
              <a:tblPr/>
              <a:tblGrid>
                <a:gridCol w="556665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33585517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459635882"/>
                    </a:ext>
                  </a:extLst>
                </a:gridCol>
              </a:tblGrid>
              <a:tr h="6649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19. 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0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0AB546C8-E108-4037-AD5A-1DB37510BD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3546798"/>
              </p:ext>
            </p:extLst>
          </p:nvPr>
        </p:nvGraphicFramePr>
        <p:xfrm>
          <a:off x="7428768" y="1300303"/>
          <a:ext cx="4564868" cy="382451"/>
        </p:xfrm>
        <a:graphic>
          <a:graphicData uri="http://schemas.openxmlformats.org/drawingml/2006/table">
            <a:tbl>
              <a:tblPr/>
              <a:tblGrid>
                <a:gridCol w="207494">
                  <a:extLst>
                    <a:ext uri="{9D8B030D-6E8A-4147-A177-3AD203B41FA5}">
                      <a16:colId xmlns:a16="http://schemas.microsoft.com/office/drawing/2014/main" val="198026601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28325144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22174201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869875170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52562627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06791913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28862057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869696314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894547061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20211427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476983024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90874385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255628630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92643771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95592156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662043963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982730664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02710319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63994643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39628669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95129625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76960789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8872018"/>
                  </a:ext>
                </a:extLst>
              </a:tr>
              <a:tr h="3495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,8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75078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892388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249595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347409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15208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2025"/>
              </p:ext>
            </p:extLst>
          </p:nvPr>
        </p:nvGraphicFramePr>
        <p:xfrm>
          <a:off x="1372685" y="1009673"/>
          <a:ext cx="9684753" cy="52387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60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BF858DAD-DC20-4393-92A6-B21E618FFA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1103461"/>
              </p:ext>
            </p:extLst>
          </p:nvPr>
        </p:nvGraphicFramePr>
        <p:xfrm>
          <a:off x="8809626" y="987423"/>
          <a:ext cx="639173" cy="5460980"/>
        </p:xfrm>
        <a:graphic>
          <a:graphicData uri="http://schemas.openxmlformats.org/drawingml/2006/table">
            <a:tbl>
              <a:tblPr/>
              <a:tblGrid>
                <a:gridCol w="639173">
                  <a:extLst>
                    <a:ext uri="{9D8B030D-6E8A-4147-A177-3AD203B41FA5}">
                      <a16:colId xmlns:a16="http://schemas.microsoft.com/office/drawing/2014/main" val="677865195"/>
                    </a:ext>
                  </a:extLst>
                </a:gridCol>
              </a:tblGrid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0857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4326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165018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52965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352130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272571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32210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245032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740778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77696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0817798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138711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56917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98279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91647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2984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331412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22881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67085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008512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41527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10467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17853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30675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866007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64432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72348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85866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2. 2022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788163"/>
              </p:ext>
            </p:extLst>
          </p:nvPr>
        </p:nvGraphicFramePr>
        <p:xfrm>
          <a:off x="1093233" y="762000"/>
          <a:ext cx="8958646" cy="5686417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591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3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2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2 3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0C3D934-3936-4830-AA8A-16275D2CB2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5916148"/>
              </p:ext>
            </p:extLst>
          </p:nvPr>
        </p:nvGraphicFramePr>
        <p:xfrm>
          <a:off x="8781368" y="1159938"/>
          <a:ext cx="705532" cy="5288490"/>
        </p:xfrm>
        <a:graphic>
          <a:graphicData uri="http://schemas.openxmlformats.org/drawingml/2006/table">
            <a:tbl>
              <a:tblPr/>
              <a:tblGrid>
                <a:gridCol w="705532">
                  <a:extLst>
                    <a:ext uri="{9D8B030D-6E8A-4147-A177-3AD203B41FA5}">
                      <a16:colId xmlns:a16="http://schemas.microsoft.com/office/drawing/2014/main" val="2135004617"/>
                    </a:ext>
                  </a:extLst>
                </a:gridCol>
              </a:tblGrid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7895306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82945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2848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954332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66862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7185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8548056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61459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476039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591549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01842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71491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770570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7258384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35667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855926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5838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64669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68375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367174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26588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722666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29179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51389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204894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977212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09198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2. 2022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4353073"/>
              </p:ext>
            </p:extLst>
          </p:nvPr>
        </p:nvGraphicFramePr>
        <p:xfrm>
          <a:off x="1104900" y="718064"/>
          <a:ext cx="8958646" cy="5730352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411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795 (3 80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63 (22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045 (1 05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78 (12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 708 (1 56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44 (6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96 (98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 (2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7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7 (12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6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1 (1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1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EB03AE-4054-44F7-9254-79404469E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827552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4475726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1564370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379360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328475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6359018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56943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1788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791593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492706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8EACD34-87EE-4F3C-A456-66279421AF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2636669"/>
              </p:ext>
            </p:extLst>
          </p:nvPr>
        </p:nvGraphicFramePr>
        <p:xfrm>
          <a:off x="7349382" y="5543020"/>
          <a:ext cx="4568088" cy="853440"/>
        </p:xfrm>
        <a:graphic>
          <a:graphicData uri="http://schemas.openxmlformats.org/drawingml/2006/table">
            <a:tbl>
              <a:tblPr/>
              <a:tblGrid>
                <a:gridCol w="761348">
                  <a:extLst>
                    <a:ext uri="{9D8B030D-6E8A-4147-A177-3AD203B41FA5}">
                      <a16:colId xmlns:a16="http://schemas.microsoft.com/office/drawing/2014/main" val="188258750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766418493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396325399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410380965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38984956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4063261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02683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76604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9551914"/>
              </p:ext>
            </p:extLst>
          </p:nvPr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564705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2 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619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79E3A59F-09AB-4510-ACAD-5C9BB713C0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2908601"/>
              </p:ext>
            </p:extLst>
          </p:nvPr>
        </p:nvGraphicFramePr>
        <p:xfrm>
          <a:off x="7362823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159223195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03879726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82275368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44701953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3031045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835638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49450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2 k 19. 2.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9. 2. 2022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9293192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2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8699067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637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  <p:tag name="SLIDEFAB_SHAPECONDITIONMETACTIONDELETE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783</TotalTime>
  <Words>16463</Words>
  <Application>Microsoft Office PowerPoint</Application>
  <PresentationFormat>Širokoúhlá obrazovka</PresentationFormat>
  <Paragraphs>7038</Paragraphs>
  <Slides>6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62</vt:i4>
      </vt:variant>
    </vt:vector>
  </HeadingPairs>
  <TitlesOfParts>
    <vt:vector size="66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užík Jan RNDr. Ph.D.</cp:lastModifiedBy>
  <cp:revision>630</cp:revision>
  <dcterms:created xsi:type="dcterms:W3CDTF">2020-11-14T10:09:00Z</dcterms:created>
  <dcterms:modified xsi:type="dcterms:W3CDTF">2022-02-19T20:34:18Z</dcterms:modified>
</cp:coreProperties>
</file>